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6" r:id="rId2"/>
    <p:sldId id="327" r:id="rId3"/>
    <p:sldId id="329" r:id="rId4"/>
    <p:sldId id="326" r:id="rId5"/>
    <p:sldId id="328" r:id="rId6"/>
    <p:sldId id="325" r:id="rId7"/>
    <p:sldId id="332" r:id="rId8"/>
    <p:sldId id="331" r:id="rId9"/>
    <p:sldId id="277" r:id="rId10"/>
  </p:sldIdLst>
  <p:sldSz cx="9144000" cy="5143500" type="screen16x9"/>
  <p:notesSz cx="6858000" cy="9144000"/>
  <p:defaultTextStyle>
    <a:defPPr>
      <a:defRPr lang="en-US"/>
    </a:defPPr>
    <a:lvl1pPr marL="0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45714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5C5C5C"/>
    <a:srgbClr val="E32C26"/>
    <a:srgbClr val="E96F24"/>
    <a:srgbClr val="5C5D5D"/>
    <a:srgbClr val="00C6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05" autoAdjust="0"/>
    <p:restoredTop sz="94660"/>
  </p:normalViewPr>
  <p:slideViewPr>
    <p:cSldViewPr snapToGrid="0" snapToObjects="1">
      <p:cViewPr>
        <p:scale>
          <a:sx n="121" d="100"/>
          <a:sy n="121" d="100"/>
        </p:scale>
        <p:origin x="-1016" y="-36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851E26-6F0A-BD4A-9144-9C33B4BCF3AE}" type="doc">
      <dgm:prSet loTypeId="urn:microsoft.com/office/officeart/2005/8/layout/process3" loCatId="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E6D26B2C-E499-6844-9C59-205099E0362E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Informasjon / Ruter </a:t>
          </a:r>
          <a:r>
            <a:rPr lang="nb-NO" dirty="0" err="1" smtClean="0">
              <a:latin typeface="Arial"/>
              <a:cs typeface="Arial"/>
            </a:rPr>
            <a:t>Flex</a:t>
          </a:r>
          <a:endParaRPr lang="nb-NO" dirty="0">
            <a:latin typeface="Arial"/>
            <a:cs typeface="Arial"/>
          </a:endParaRPr>
        </a:p>
      </dgm:t>
    </dgm:pt>
    <dgm:pt modelId="{5367FA89-398D-604F-A011-3D33085BE0E6}" type="parTrans" cxnId="{72E9AB8C-9853-984E-8D22-A1288DD7E955}">
      <dgm:prSet/>
      <dgm:spPr/>
      <dgm:t>
        <a:bodyPr/>
        <a:lstStyle/>
        <a:p>
          <a:endParaRPr lang="nb-NO"/>
        </a:p>
      </dgm:t>
    </dgm:pt>
    <dgm:pt modelId="{4FEB46E7-8596-E34E-84E0-FBB4274E0FC1}" type="sibTrans" cxnId="{72E9AB8C-9853-984E-8D22-A1288DD7E955}">
      <dgm:prSet/>
      <dgm:spPr/>
      <dgm:t>
        <a:bodyPr/>
        <a:lstStyle/>
        <a:p>
          <a:endParaRPr lang="nb-NO"/>
        </a:p>
      </dgm:t>
    </dgm:pt>
    <dgm:pt modelId="{E2CCCF9F-D251-8141-BC54-973826F7BA5A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SMS</a:t>
          </a:r>
          <a:endParaRPr lang="nb-NO" dirty="0"/>
        </a:p>
      </dgm:t>
    </dgm:pt>
    <dgm:pt modelId="{CAC01D5C-A521-1D41-A604-A7849224DC8B}" type="parTrans" cxnId="{F681C54B-1887-364E-A607-64804401CC3D}">
      <dgm:prSet/>
      <dgm:spPr/>
      <dgm:t>
        <a:bodyPr/>
        <a:lstStyle/>
        <a:p>
          <a:endParaRPr lang="nb-NO"/>
        </a:p>
      </dgm:t>
    </dgm:pt>
    <dgm:pt modelId="{D3A96036-0FED-9248-B746-29AEBDFDE5F7}" type="sibTrans" cxnId="{F681C54B-1887-364E-A607-64804401CC3D}">
      <dgm:prSet/>
      <dgm:spPr/>
      <dgm:t>
        <a:bodyPr/>
        <a:lstStyle/>
        <a:p>
          <a:endParaRPr lang="nb-NO"/>
        </a:p>
      </dgm:t>
    </dgm:pt>
    <dgm:pt modelId="{7DDE7E69-0421-EC4D-9B0C-209AD19185E8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Dialog </a:t>
          </a:r>
          <a:endParaRPr lang="nb-NO" dirty="0">
            <a:latin typeface="Arial"/>
            <a:cs typeface="Arial"/>
          </a:endParaRPr>
        </a:p>
      </dgm:t>
    </dgm:pt>
    <dgm:pt modelId="{0B5360C8-D1CC-4A48-AD17-72E396AAD849}" type="parTrans" cxnId="{AB68A05F-87C4-F74E-BEE4-F89021D8752A}">
      <dgm:prSet/>
      <dgm:spPr/>
      <dgm:t>
        <a:bodyPr/>
        <a:lstStyle/>
        <a:p>
          <a:endParaRPr lang="nb-NO"/>
        </a:p>
      </dgm:t>
    </dgm:pt>
    <dgm:pt modelId="{BDB9544E-CC3A-6B40-882D-647F8E6E0720}" type="sibTrans" cxnId="{AB68A05F-87C4-F74E-BEE4-F89021D8752A}">
      <dgm:prSet/>
      <dgm:spPr/>
      <dgm:t>
        <a:bodyPr/>
        <a:lstStyle/>
        <a:p>
          <a:endParaRPr lang="nb-NO"/>
        </a:p>
      </dgm:t>
    </dgm:pt>
    <dgm:pt modelId="{A5CB9A1D-5126-8741-9E0B-4F78E3227967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To veis dialog med brukere i alle kanaler</a:t>
          </a:r>
          <a:endParaRPr lang="nb-NO" dirty="0"/>
        </a:p>
      </dgm:t>
    </dgm:pt>
    <dgm:pt modelId="{F9F91E46-EC21-214F-994F-76717DA8885A}" type="parTrans" cxnId="{14918EAF-A26E-6446-AE2E-5260EF104BB3}">
      <dgm:prSet/>
      <dgm:spPr/>
      <dgm:t>
        <a:bodyPr/>
        <a:lstStyle/>
        <a:p>
          <a:endParaRPr lang="nb-NO"/>
        </a:p>
      </dgm:t>
    </dgm:pt>
    <dgm:pt modelId="{78575131-B7DA-7140-9E03-0553EA6A273B}" type="sibTrans" cxnId="{14918EAF-A26E-6446-AE2E-5260EF104BB3}">
      <dgm:prSet/>
      <dgm:spPr/>
      <dgm:t>
        <a:bodyPr/>
        <a:lstStyle/>
        <a:p>
          <a:endParaRPr lang="nb-NO"/>
        </a:p>
      </dgm:t>
    </dgm:pt>
    <dgm:pt modelId="{40915D0D-8C3F-1145-B70C-2392B672AE4A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Betaling </a:t>
          </a:r>
          <a:endParaRPr lang="nb-NO" dirty="0">
            <a:latin typeface="Arial"/>
            <a:cs typeface="Arial"/>
          </a:endParaRPr>
        </a:p>
      </dgm:t>
    </dgm:pt>
    <dgm:pt modelId="{83D1C4A9-0A3B-DF48-B5C8-A9BDA96A7D7D}" type="parTrans" cxnId="{DF1AA6F3-7E05-714D-8C59-D6A4E0BA01A7}">
      <dgm:prSet/>
      <dgm:spPr/>
      <dgm:t>
        <a:bodyPr/>
        <a:lstStyle/>
        <a:p>
          <a:endParaRPr lang="nb-NO"/>
        </a:p>
      </dgm:t>
    </dgm:pt>
    <dgm:pt modelId="{5C183621-B0D5-D347-92A0-4A1488627DF4}" type="sibTrans" cxnId="{DF1AA6F3-7E05-714D-8C59-D6A4E0BA01A7}">
      <dgm:prSet/>
      <dgm:spPr/>
      <dgm:t>
        <a:bodyPr/>
        <a:lstStyle/>
        <a:p>
          <a:endParaRPr lang="nb-NO"/>
        </a:p>
      </dgm:t>
    </dgm:pt>
    <dgm:pt modelId="{CEF8EFD4-3DDE-8140-A768-A9C0893B5399}">
      <dgm:prSet phldrT="[Tekst]"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Mobile </a:t>
          </a:r>
          <a:r>
            <a:rPr lang="nb-NO" dirty="0" err="1" smtClean="0">
              <a:latin typeface="Arial"/>
              <a:cs typeface="Arial"/>
            </a:rPr>
            <a:t>Payment</a:t>
          </a:r>
          <a:r>
            <a:rPr lang="nb-NO" dirty="0" smtClean="0">
              <a:latin typeface="Arial"/>
              <a:cs typeface="Arial"/>
            </a:rPr>
            <a:t> </a:t>
          </a:r>
          <a:endParaRPr lang="nb-NO" dirty="0">
            <a:latin typeface="Arial"/>
            <a:cs typeface="Arial"/>
          </a:endParaRPr>
        </a:p>
      </dgm:t>
    </dgm:pt>
    <dgm:pt modelId="{FDF9E59C-DFE0-EF4D-89C8-4CB09C9BCCBA}" type="parTrans" cxnId="{E7D19C34-67AD-4E4C-9DA0-20A986BE68F7}">
      <dgm:prSet/>
      <dgm:spPr/>
      <dgm:t>
        <a:bodyPr/>
        <a:lstStyle/>
        <a:p>
          <a:endParaRPr lang="nb-NO"/>
        </a:p>
      </dgm:t>
    </dgm:pt>
    <dgm:pt modelId="{EED99370-1D91-5949-809F-D44A2080A514}" type="sibTrans" cxnId="{E7D19C34-67AD-4E4C-9DA0-20A986BE68F7}">
      <dgm:prSet/>
      <dgm:spPr/>
      <dgm:t>
        <a:bodyPr/>
        <a:lstStyle/>
        <a:p>
          <a:endParaRPr lang="nb-NO"/>
        </a:p>
      </dgm:t>
    </dgm:pt>
    <dgm:pt modelId="{CACA0FF2-7D22-6943-963D-684FC69903AE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Big data</a:t>
          </a:r>
          <a:endParaRPr lang="nb-NO" dirty="0" smtClean="0">
            <a:latin typeface="Arial"/>
            <a:cs typeface="Arial"/>
          </a:endParaRPr>
        </a:p>
      </dgm:t>
    </dgm:pt>
    <dgm:pt modelId="{34A71A86-4FA3-A141-99F5-6F5656A1F704}" type="parTrans" cxnId="{C77FB572-5FB8-3540-9B06-529E4598BA6E}">
      <dgm:prSet/>
      <dgm:spPr/>
      <dgm:t>
        <a:bodyPr/>
        <a:lstStyle/>
        <a:p>
          <a:endParaRPr lang="nb-NO"/>
        </a:p>
      </dgm:t>
    </dgm:pt>
    <dgm:pt modelId="{6723D5E6-88DD-7C43-8260-F1DDF153209C}" type="sibTrans" cxnId="{C77FB572-5FB8-3540-9B06-529E4598BA6E}">
      <dgm:prSet/>
      <dgm:spPr/>
      <dgm:t>
        <a:bodyPr/>
        <a:lstStyle/>
        <a:p>
          <a:endParaRPr lang="nb-NO"/>
        </a:p>
      </dgm:t>
    </dgm:pt>
    <dgm:pt modelId="{FFD5EEE9-DF86-C647-BE19-899F1805D4D6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Kampanje  </a:t>
          </a:r>
          <a:endParaRPr lang="nb-NO" dirty="0" smtClean="0">
            <a:latin typeface="Arial"/>
            <a:cs typeface="Arial"/>
          </a:endParaRPr>
        </a:p>
      </dgm:t>
    </dgm:pt>
    <dgm:pt modelId="{F8F7F4A2-42B2-2E40-AB72-52B4E82B90E6}" type="parTrans" cxnId="{43FC914E-3C74-4E4F-927B-2E83CA07B806}">
      <dgm:prSet/>
      <dgm:spPr/>
      <dgm:t>
        <a:bodyPr/>
        <a:lstStyle/>
        <a:p>
          <a:endParaRPr lang="nb-NO"/>
        </a:p>
      </dgm:t>
    </dgm:pt>
    <dgm:pt modelId="{03B86CD2-6BC7-A041-9B19-5D672253E875}" type="sibTrans" cxnId="{43FC914E-3C74-4E4F-927B-2E83CA07B806}">
      <dgm:prSet/>
      <dgm:spPr/>
      <dgm:t>
        <a:bodyPr/>
        <a:lstStyle/>
        <a:p>
          <a:endParaRPr lang="nb-NO"/>
        </a:p>
      </dgm:t>
    </dgm:pt>
    <dgm:pt modelId="{89F712EA-BF8E-B54D-8BBB-505E538771E1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Miljøfremende kampanjer</a:t>
          </a:r>
          <a:endParaRPr lang="nb-NO" dirty="0"/>
        </a:p>
      </dgm:t>
    </dgm:pt>
    <dgm:pt modelId="{10FA227A-F25B-2049-AB98-D0A974759281}" type="parTrans" cxnId="{B24EC1F8-13C5-604D-84EA-24916ECF1563}">
      <dgm:prSet/>
      <dgm:spPr/>
      <dgm:t>
        <a:bodyPr/>
        <a:lstStyle/>
        <a:p>
          <a:endParaRPr lang="nb-NO"/>
        </a:p>
      </dgm:t>
    </dgm:pt>
    <dgm:pt modelId="{89896E17-2D05-E141-BF8D-050FAB67E0C2}" type="sibTrans" cxnId="{B24EC1F8-13C5-604D-84EA-24916ECF1563}">
      <dgm:prSet/>
      <dgm:spPr/>
      <dgm:t>
        <a:bodyPr/>
        <a:lstStyle/>
        <a:p>
          <a:endParaRPr lang="nb-NO"/>
        </a:p>
      </dgm:t>
    </dgm:pt>
    <dgm:pt modelId="{AAEBC60A-2433-D748-8EF6-ACD49D18AAAA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Brukerinformasjon</a:t>
          </a:r>
          <a:endParaRPr lang="nb-NO" dirty="0"/>
        </a:p>
      </dgm:t>
    </dgm:pt>
    <dgm:pt modelId="{3FDDE776-FB49-C441-BD4B-ED5037D1326A}" type="parTrans" cxnId="{6D157D50-8B7E-BE40-9F9F-923D1ABF46D2}">
      <dgm:prSet/>
      <dgm:spPr/>
      <dgm:t>
        <a:bodyPr/>
        <a:lstStyle/>
        <a:p>
          <a:endParaRPr lang="nb-NO"/>
        </a:p>
      </dgm:t>
    </dgm:pt>
    <dgm:pt modelId="{069215F7-8445-9E4A-BE09-E5361ADE1CEB}" type="sibTrans" cxnId="{6D157D50-8B7E-BE40-9F9F-923D1ABF46D2}">
      <dgm:prSet/>
      <dgm:spPr/>
      <dgm:t>
        <a:bodyPr/>
        <a:lstStyle/>
        <a:p>
          <a:endParaRPr lang="nb-NO"/>
        </a:p>
      </dgm:t>
    </dgm:pt>
    <dgm:pt modelId="{304EDEFE-6C21-874F-A1B3-B453FD2E40D1}">
      <dgm:prSet phldrT="[Tekst]"/>
      <dgm:spPr/>
      <dgm:t>
        <a:bodyPr/>
        <a:lstStyle/>
        <a:p>
          <a:r>
            <a:rPr lang="nb-NO" dirty="0" smtClean="0"/>
            <a:t>APP Puch</a:t>
          </a:r>
          <a:endParaRPr lang="nb-NO" dirty="0"/>
        </a:p>
      </dgm:t>
    </dgm:pt>
    <dgm:pt modelId="{6C0060A7-372D-ED4D-B7B1-7FE27AA6EE11}" type="parTrans" cxnId="{A0C427F4-D397-3547-A155-A871920E540C}">
      <dgm:prSet/>
      <dgm:spPr/>
      <dgm:t>
        <a:bodyPr/>
        <a:lstStyle/>
        <a:p>
          <a:endParaRPr lang="nb-NO"/>
        </a:p>
      </dgm:t>
    </dgm:pt>
    <dgm:pt modelId="{ABD9D56E-DF90-9B42-95C7-1A4956AD981D}" type="sibTrans" cxnId="{A0C427F4-D397-3547-A155-A871920E540C}">
      <dgm:prSet/>
      <dgm:spPr/>
      <dgm:t>
        <a:bodyPr/>
        <a:lstStyle/>
        <a:p>
          <a:endParaRPr lang="nb-NO"/>
        </a:p>
      </dgm:t>
    </dgm:pt>
    <dgm:pt modelId="{574A167D-A6F7-0F4B-9A5F-02AB9386159D}">
      <dgm:prSet phldrT="[Tekst]"/>
      <dgm:spPr/>
      <dgm:t>
        <a:bodyPr/>
        <a:lstStyle/>
        <a:p>
          <a:r>
            <a:rPr lang="nb-NO" dirty="0" smtClean="0"/>
            <a:t>Innmelding / Utmelding </a:t>
          </a:r>
          <a:endParaRPr lang="nb-NO" dirty="0"/>
        </a:p>
      </dgm:t>
    </dgm:pt>
    <dgm:pt modelId="{198BDCF3-E45D-7940-82D6-C04ABCEA90D5}" type="parTrans" cxnId="{2366BCC1-8511-C740-9A90-4D29DBFECD35}">
      <dgm:prSet/>
      <dgm:spPr/>
      <dgm:t>
        <a:bodyPr/>
        <a:lstStyle/>
        <a:p>
          <a:endParaRPr lang="nb-NO"/>
        </a:p>
      </dgm:t>
    </dgm:pt>
    <dgm:pt modelId="{5087D2E8-0E12-1348-81FC-400AB3C08FA4}" type="sibTrans" cxnId="{2366BCC1-8511-C740-9A90-4D29DBFECD35}">
      <dgm:prSet/>
      <dgm:spPr/>
      <dgm:t>
        <a:bodyPr/>
        <a:lstStyle/>
        <a:p>
          <a:endParaRPr lang="nb-NO"/>
        </a:p>
      </dgm:t>
    </dgm:pt>
    <dgm:pt modelId="{D80905F5-AE81-A249-93B3-DE570B72E956}">
      <dgm:prSet phldrT="[Tekst]"/>
      <dgm:spPr/>
      <dgm:t>
        <a:bodyPr/>
        <a:lstStyle/>
        <a:p>
          <a:r>
            <a:rPr lang="nb-NO" dirty="0" err="1" smtClean="0">
              <a:latin typeface="Arial"/>
              <a:cs typeface="Arial"/>
            </a:rPr>
            <a:t>Multi</a:t>
          </a:r>
          <a:r>
            <a:rPr lang="nb-NO" dirty="0" smtClean="0">
              <a:latin typeface="Arial"/>
              <a:cs typeface="Arial"/>
            </a:rPr>
            <a:t> </a:t>
          </a:r>
          <a:r>
            <a:rPr lang="nb-NO" dirty="0" err="1" smtClean="0">
              <a:latin typeface="Arial"/>
              <a:cs typeface="Arial"/>
            </a:rPr>
            <a:t>pay</a:t>
          </a:r>
          <a:r>
            <a:rPr lang="nb-NO" dirty="0" smtClean="0">
              <a:latin typeface="Arial"/>
              <a:cs typeface="Arial"/>
            </a:rPr>
            <a:t> </a:t>
          </a:r>
          <a:r>
            <a:rPr lang="nb-NO" dirty="0" err="1" smtClean="0">
              <a:latin typeface="Arial"/>
              <a:cs typeface="Arial"/>
            </a:rPr>
            <a:t>gateway</a:t>
          </a:r>
          <a:endParaRPr lang="nb-NO" dirty="0">
            <a:latin typeface="Arial"/>
            <a:cs typeface="Arial"/>
          </a:endParaRPr>
        </a:p>
      </dgm:t>
    </dgm:pt>
    <dgm:pt modelId="{B816E6AB-D0BF-C04C-8C20-03EEEE09E3D9}" type="parTrans" cxnId="{BDF51FD2-77B3-4144-AE76-66D9D16C0711}">
      <dgm:prSet/>
      <dgm:spPr/>
      <dgm:t>
        <a:bodyPr/>
        <a:lstStyle/>
        <a:p>
          <a:endParaRPr lang="nb-NO"/>
        </a:p>
      </dgm:t>
    </dgm:pt>
    <dgm:pt modelId="{1EEE7BC8-3847-204D-996C-A27FD3A45770}" type="sibTrans" cxnId="{BDF51FD2-77B3-4144-AE76-66D9D16C0711}">
      <dgm:prSet/>
      <dgm:spPr/>
      <dgm:t>
        <a:bodyPr/>
        <a:lstStyle/>
        <a:p>
          <a:endParaRPr lang="nb-NO"/>
        </a:p>
      </dgm:t>
    </dgm:pt>
    <dgm:pt modelId="{EFE7EE79-BC1D-5746-88CB-D41D6C572ACF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Preferanser</a:t>
          </a:r>
          <a:endParaRPr lang="nb-NO" dirty="0"/>
        </a:p>
      </dgm:t>
    </dgm:pt>
    <dgm:pt modelId="{8629C6C3-4827-CD47-83C9-1D1EC939A726}" type="parTrans" cxnId="{10A62692-EA9B-D841-9357-7E6E71BA9533}">
      <dgm:prSet/>
      <dgm:spPr/>
      <dgm:t>
        <a:bodyPr/>
        <a:lstStyle/>
        <a:p>
          <a:endParaRPr lang="nb-NO"/>
        </a:p>
      </dgm:t>
    </dgm:pt>
    <dgm:pt modelId="{CA5DC222-4BD2-CA4D-B305-666A022B0D26}" type="sibTrans" cxnId="{10A62692-EA9B-D841-9357-7E6E71BA9533}">
      <dgm:prSet/>
      <dgm:spPr/>
      <dgm:t>
        <a:bodyPr/>
        <a:lstStyle/>
        <a:p>
          <a:endParaRPr lang="nb-NO"/>
        </a:p>
      </dgm:t>
    </dgm:pt>
    <dgm:pt modelId="{B9D61541-CA14-0845-9D5C-E7AE283D83BD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Deling av data</a:t>
          </a:r>
          <a:endParaRPr lang="nb-NO" dirty="0"/>
        </a:p>
      </dgm:t>
    </dgm:pt>
    <dgm:pt modelId="{08999E76-52EE-054F-AA8E-DFB87F850B93}" type="parTrans" cxnId="{DA59AB38-62B2-3C43-A485-D378AC1F2094}">
      <dgm:prSet/>
      <dgm:spPr/>
      <dgm:t>
        <a:bodyPr/>
        <a:lstStyle/>
        <a:p>
          <a:endParaRPr lang="nb-NO"/>
        </a:p>
      </dgm:t>
    </dgm:pt>
    <dgm:pt modelId="{B8D7DF56-C1F6-C344-B580-172D86D34D06}" type="sibTrans" cxnId="{DA59AB38-62B2-3C43-A485-D378AC1F2094}">
      <dgm:prSet/>
      <dgm:spPr/>
      <dgm:t>
        <a:bodyPr/>
        <a:lstStyle/>
        <a:p>
          <a:endParaRPr lang="nb-NO"/>
        </a:p>
      </dgm:t>
    </dgm:pt>
    <dgm:pt modelId="{11506229-8BE6-FA40-85FC-93BF1A034F9E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Intelgens  </a:t>
          </a:r>
          <a:endParaRPr lang="nb-NO" dirty="0"/>
        </a:p>
      </dgm:t>
    </dgm:pt>
    <dgm:pt modelId="{523283A8-8009-0749-A00B-DE5E2E79AC00}" type="parTrans" cxnId="{9D9A7C1F-93E4-C648-AF99-589285956BE3}">
      <dgm:prSet/>
      <dgm:spPr/>
      <dgm:t>
        <a:bodyPr/>
        <a:lstStyle/>
        <a:p>
          <a:endParaRPr lang="nb-NO"/>
        </a:p>
      </dgm:t>
    </dgm:pt>
    <dgm:pt modelId="{F459781C-35BF-1746-AA43-579023408E6C}" type="sibTrans" cxnId="{9D9A7C1F-93E4-C648-AF99-589285956BE3}">
      <dgm:prSet/>
      <dgm:spPr/>
      <dgm:t>
        <a:bodyPr/>
        <a:lstStyle/>
        <a:p>
          <a:endParaRPr lang="nb-NO"/>
        </a:p>
      </dgm:t>
    </dgm:pt>
    <dgm:pt modelId="{B069CF42-6EB2-9E47-8AD5-86A7429DC72F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 </a:t>
          </a:r>
          <a:r>
            <a:rPr lang="nb-NO" dirty="0" err="1" smtClean="0">
              <a:latin typeface="Arial"/>
              <a:cs typeface="Arial"/>
            </a:rPr>
            <a:t>Bundelekampanjer</a:t>
          </a:r>
          <a:endParaRPr lang="nb-NO" dirty="0"/>
        </a:p>
      </dgm:t>
    </dgm:pt>
    <dgm:pt modelId="{8DBB8ADD-9410-484C-B7C0-B086AB93A21C}" type="parTrans" cxnId="{A7FF35B5-C0A3-9045-BDF0-824993BCAF18}">
      <dgm:prSet/>
      <dgm:spPr/>
      <dgm:t>
        <a:bodyPr/>
        <a:lstStyle/>
        <a:p>
          <a:endParaRPr lang="nb-NO"/>
        </a:p>
      </dgm:t>
    </dgm:pt>
    <dgm:pt modelId="{B508FC85-9D77-3141-A70A-6C94491C9486}" type="sibTrans" cxnId="{A7FF35B5-C0A3-9045-BDF0-824993BCAF18}">
      <dgm:prSet/>
      <dgm:spPr/>
      <dgm:t>
        <a:bodyPr/>
        <a:lstStyle/>
        <a:p>
          <a:endParaRPr lang="nb-NO"/>
        </a:p>
      </dgm:t>
    </dgm:pt>
    <dgm:pt modelId="{ED51FBE1-0060-EF4C-A99A-C9642BF879A1}">
      <dgm:prSet/>
      <dgm:spPr/>
      <dgm:t>
        <a:bodyPr/>
        <a:lstStyle/>
        <a:p>
          <a:r>
            <a:rPr lang="nb-NO" dirty="0" smtClean="0">
              <a:latin typeface="Arial"/>
              <a:cs typeface="Arial"/>
            </a:rPr>
            <a:t>Registeringskampanjer  </a:t>
          </a:r>
          <a:endParaRPr lang="nb-NO" dirty="0"/>
        </a:p>
      </dgm:t>
    </dgm:pt>
    <dgm:pt modelId="{BD29F2D4-18B0-4D41-AB72-A7FF64EDEA9D}" type="parTrans" cxnId="{77D01C34-CCBB-E143-8988-91640DB895EF}">
      <dgm:prSet/>
      <dgm:spPr/>
      <dgm:t>
        <a:bodyPr/>
        <a:lstStyle/>
        <a:p>
          <a:endParaRPr lang="nb-NO"/>
        </a:p>
      </dgm:t>
    </dgm:pt>
    <dgm:pt modelId="{6887B277-FF1B-2F47-95E9-4784BFDCBB23}" type="sibTrans" cxnId="{77D01C34-CCBB-E143-8988-91640DB895EF}">
      <dgm:prSet/>
      <dgm:spPr/>
      <dgm:t>
        <a:bodyPr/>
        <a:lstStyle/>
        <a:p>
          <a:endParaRPr lang="nb-NO"/>
        </a:p>
      </dgm:t>
    </dgm:pt>
    <dgm:pt modelId="{6E583BB5-0DC2-8244-8427-23F1326B6A56}" type="pres">
      <dgm:prSet presAssocID="{46851E26-6F0A-BD4A-9144-9C33B4BCF3A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0A23611D-1A83-604C-8D87-181B990B6E04}" type="pres">
      <dgm:prSet presAssocID="{E6D26B2C-E499-6844-9C59-205099E0362E}" presName="composite" presStyleCnt="0"/>
      <dgm:spPr/>
    </dgm:pt>
    <dgm:pt modelId="{8F36180B-0974-B045-A8C4-C139A898CF59}" type="pres">
      <dgm:prSet presAssocID="{E6D26B2C-E499-6844-9C59-205099E0362E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E277A9B-F356-6044-9C47-3890E4FB903E}" type="pres">
      <dgm:prSet presAssocID="{E6D26B2C-E499-6844-9C59-205099E0362E}" presName="parSh" presStyleLbl="node1" presStyleIdx="0" presStyleCnt="5"/>
      <dgm:spPr/>
      <dgm:t>
        <a:bodyPr/>
        <a:lstStyle/>
        <a:p>
          <a:endParaRPr lang="nb-NO"/>
        </a:p>
      </dgm:t>
    </dgm:pt>
    <dgm:pt modelId="{E227F3A5-5B4B-DA44-92AE-49BAB7276F2E}" type="pres">
      <dgm:prSet presAssocID="{E6D26B2C-E499-6844-9C59-205099E0362E}" presName="desTx" presStyleLbl="fgAcc1" presStyleIdx="0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6E3C6201-870C-0849-8DF7-12462FC419AE}" type="pres">
      <dgm:prSet presAssocID="{4FEB46E7-8596-E34E-84E0-FBB4274E0FC1}" presName="sibTrans" presStyleLbl="sibTrans2D1" presStyleIdx="0" presStyleCnt="4"/>
      <dgm:spPr/>
      <dgm:t>
        <a:bodyPr/>
        <a:lstStyle/>
        <a:p>
          <a:endParaRPr lang="nb-NO"/>
        </a:p>
      </dgm:t>
    </dgm:pt>
    <dgm:pt modelId="{39B52216-DBA8-4040-8852-3560E7814A4E}" type="pres">
      <dgm:prSet presAssocID="{4FEB46E7-8596-E34E-84E0-FBB4274E0FC1}" presName="connTx" presStyleLbl="sibTrans2D1" presStyleIdx="0" presStyleCnt="4"/>
      <dgm:spPr/>
      <dgm:t>
        <a:bodyPr/>
        <a:lstStyle/>
        <a:p>
          <a:endParaRPr lang="nb-NO"/>
        </a:p>
      </dgm:t>
    </dgm:pt>
    <dgm:pt modelId="{2EDA7C99-B7D2-5D48-99AA-DEE12AAF72B7}" type="pres">
      <dgm:prSet presAssocID="{7DDE7E69-0421-EC4D-9B0C-209AD19185E8}" presName="composite" presStyleCnt="0"/>
      <dgm:spPr/>
    </dgm:pt>
    <dgm:pt modelId="{3C1AC2DB-0FF6-AD43-8406-3D0A811A819C}" type="pres">
      <dgm:prSet presAssocID="{7DDE7E69-0421-EC4D-9B0C-209AD19185E8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D8031396-F640-9E4A-884B-D69715A6E95B}" type="pres">
      <dgm:prSet presAssocID="{7DDE7E69-0421-EC4D-9B0C-209AD19185E8}" presName="parSh" presStyleLbl="node1" presStyleIdx="1" presStyleCnt="5"/>
      <dgm:spPr/>
      <dgm:t>
        <a:bodyPr/>
        <a:lstStyle/>
        <a:p>
          <a:endParaRPr lang="nb-NO"/>
        </a:p>
      </dgm:t>
    </dgm:pt>
    <dgm:pt modelId="{7329B6B2-203C-0945-A2CA-E8C4E7E0FBB4}" type="pres">
      <dgm:prSet presAssocID="{7DDE7E69-0421-EC4D-9B0C-209AD19185E8}" presName="desTx" presStyleLbl="fgAcc1" presStyleIdx="1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986B826-DCDC-E448-A99A-B2DAF2B4AD4A}" type="pres">
      <dgm:prSet presAssocID="{BDB9544E-CC3A-6B40-882D-647F8E6E0720}" presName="sibTrans" presStyleLbl="sibTrans2D1" presStyleIdx="1" presStyleCnt="4"/>
      <dgm:spPr/>
      <dgm:t>
        <a:bodyPr/>
        <a:lstStyle/>
        <a:p>
          <a:endParaRPr lang="nb-NO"/>
        </a:p>
      </dgm:t>
    </dgm:pt>
    <dgm:pt modelId="{72A95398-7D6E-864D-AF04-0616C9560B72}" type="pres">
      <dgm:prSet presAssocID="{BDB9544E-CC3A-6B40-882D-647F8E6E0720}" presName="connTx" presStyleLbl="sibTrans2D1" presStyleIdx="1" presStyleCnt="4"/>
      <dgm:spPr/>
      <dgm:t>
        <a:bodyPr/>
        <a:lstStyle/>
        <a:p>
          <a:endParaRPr lang="nb-NO"/>
        </a:p>
      </dgm:t>
    </dgm:pt>
    <dgm:pt modelId="{F2E066C1-8C8B-DF41-A27A-694E1043769D}" type="pres">
      <dgm:prSet presAssocID="{40915D0D-8C3F-1145-B70C-2392B672AE4A}" presName="composite" presStyleCnt="0"/>
      <dgm:spPr/>
    </dgm:pt>
    <dgm:pt modelId="{23A97C79-E51C-C347-B80D-2E625C438076}" type="pres">
      <dgm:prSet presAssocID="{40915D0D-8C3F-1145-B70C-2392B672AE4A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4AB4D45-79B0-F64C-8642-9342EEB90C34}" type="pres">
      <dgm:prSet presAssocID="{40915D0D-8C3F-1145-B70C-2392B672AE4A}" presName="parSh" presStyleLbl="node1" presStyleIdx="2" presStyleCnt="5"/>
      <dgm:spPr/>
      <dgm:t>
        <a:bodyPr/>
        <a:lstStyle/>
        <a:p>
          <a:endParaRPr lang="nb-NO"/>
        </a:p>
      </dgm:t>
    </dgm:pt>
    <dgm:pt modelId="{74204A7C-6BB4-E145-B98C-47C15FDDAA76}" type="pres">
      <dgm:prSet presAssocID="{40915D0D-8C3F-1145-B70C-2392B672AE4A}" presName="desTx" presStyleLbl="fgAcc1" presStyleIdx="2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1D09215-FC1D-0444-8342-ABC969FC4278}" type="pres">
      <dgm:prSet presAssocID="{5C183621-B0D5-D347-92A0-4A1488627DF4}" presName="sibTrans" presStyleLbl="sibTrans2D1" presStyleIdx="2" presStyleCnt="4"/>
      <dgm:spPr/>
      <dgm:t>
        <a:bodyPr/>
        <a:lstStyle/>
        <a:p>
          <a:endParaRPr lang="nb-NO"/>
        </a:p>
      </dgm:t>
    </dgm:pt>
    <dgm:pt modelId="{0F1E61FF-E7A7-5B4F-9213-241329CC7283}" type="pres">
      <dgm:prSet presAssocID="{5C183621-B0D5-D347-92A0-4A1488627DF4}" presName="connTx" presStyleLbl="sibTrans2D1" presStyleIdx="2" presStyleCnt="4"/>
      <dgm:spPr/>
      <dgm:t>
        <a:bodyPr/>
        <a:lstStyle/>
        <a:p>
          <a:endParaRPr lang="nb-NO"/>
        </a:p>
      </dgm:t>
    </dgm:pt>
    <dgm:pt modelId="{0639757C-3B65-004E-97A5-5B9668B0FF52}" type="pres">
      <dgm:prSet presAssocID="{CACA0FF2-7D22-6943-963D-684FC69903AE}" presName="composite" presStyleCnt="0"/>
      <dgm:spPr/>
    </dgm:pt>
    <dgm:pt modelId="{23B46C20-A8EA-A54C-BEEC-B9A3DA3D52D3}" type="pres">
      <dgm:prSet presAssocID="{CACA0FF2-7D22-6943-963D-684FC69903AE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F5AE93E-A193-4D46-B246-E713521FFAD7}" type="pres">
      <dgm:prSet presAssocID="{CACA0FF2-7D22-6943-963D-684FC69903AE}" presName="parSh" presStyleLbl="node1" presStyleIdx="3" presStyleCnt="5"/>
      <dgm:spPr/>
      <dgm:t>
        <a:bodyPr/>
        <a:lstStyle/>
        <a:p>
          <a:endParaRPr lang="nb-NO"/>
        </a:p>
      </dgm:t>
    </dgm:pt>
    <dgm:pt modelId="{C60F2F17-A0E7-BD41-A4F2-4C87B6F6D03D}" type="pres">
      <dgm:prSet presAssocID="{CACA0FF2-7D22-6943-963D-684FC69903AE}" presName="desTx" presStyleLbl="fgAcc1" presStyleIdx="3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C94C3786-CD7C-F046-B206-4C4F218EC873}" type="pres">
      <dgm:prSet presAssocID="{6723D5E6-88DD-7C43-8260-F1DDF153209C}" presName="sibTrans" presStyleLbl="sibTrans2D1" presStyleIdx="3" presStyleCnt="4"/>
      <dgm:spPr/>
      <dgm:t>
        <a:bodyPr/>
        <a:lstStyle/>
        <a:p>
          <a:endParaRPr lang="nb-NO"/>
        </a:p>
      </dgm:t>
    </dgm:pt>
    <dgm:pt modelId="{624B31B4-4707-9D4B-B55E-28B3FC9B8274}" type="pres">
      <dgm:prSet presAssocID="{6723D5E6-88DD-7C43-8260-F1DDF153209C}" presName="connTx" presStyleLbl="sibTrans2D1" presStyleIdx="3" presStyleCnt="4"/>
      <dgm:spPr/>
      <dgm:t>
        <a:bodyPr/>
        <a:lstStyle/>
        <a:p>
          <a:endParaRPr lang="nb-NO"/>
        </a:p>
      </dgm:t>
    </dgm:pt>
    <dgm:pt modelId="{EF124A20-2A04-8243-BFAA-9E3251A0B556}" type="pres">
      <dgm:prSet presAssocID="{FFD5EEE9-DF86-C647-BE19-899F1805D4D6}" presName="composite" presStyleCnt="0"/>
      <dgm:spPr/>
    </dgm:pt>
    <dgm:pt modelId="{884C0ECB-EA24-8A46-A850-E44E1691D255}" type="pres">
      <dgm:prSet presAssocID="{FFD5EEE9-DF86-C647-BE19-899F1805D4D6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87CD474-7428-594A-9CA9-737920304A34}" type="pres">
      <dgm:prSet presAssocID="{FFD5EEE9-DF86-C647-BE19-899F1805D4D6}" presName="parSh" presStyleLbl="node1" presStyleIdx="4" presStyleCnt="5"/>
      <dgm:spPr/>
      <dgm:t>
        <a:bodyPr/>
        <a:lstStyle/>
        <a:p>
          <a:endParaRPr lang="nb-NO"/>
        </a:p>
      </dgm:t>
    </dgm:pt>
    <dgm:pt modelId="{94C6C4F3-8ABF-5244-A6A8-E694230A8A51}" type="pres">
      <dgm:prSet presAssocID="{FFD5EEE9-DF86-C647-BE19-899F1805D4D6}" presName="desTx" presStyleLbl="fgAcc1" presStyleIdx="4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23EF4DF4-B06A-7447-AE82-69E0D3281077}" type="presOf" srcId="{5C183621-B0D5-D347-92A0-4A1488627DF4}" destId="{31D09215-FC1D-0444-8342-ABC969FC4278}" srcOrd="0" destOrd="0" presId="urn:microsoft.com/office/officeart/2005/8/layout/process3"/>
    <dgm:cxn modelId="{281D2948-85A5-794F-BA98-B80A1E893551}" type="presOf" srcId="{CACA0FF2-7D22-6943-963D-684FC69903AE}" destId="{23B46C20-A8EA-A54C-BEEC-B9A3DA3D52D3}" srcOrd="0" destOrd="0" presId="urn:microsoft.com/office/officeart/2005/8/layout/process3"/>
    <dgm:cxn modelId="{26A1E0C0-C095-6C44-B914-3E486DD0BCF2}" type="presOf" srcId="{6723D5E6-88DD-7C43-8260-F1DDF153209C}" destId="{C94C3786-CD7C-F046-B206-4C4F218EC873}" srcOrd="0" destOrd="0" presId="urn:microsoft.com/office/officeart/2005/8/layout/process3"/>
    <dgm:cxn modelId="{2366BCC1-8511-C740-9A90-4D29DBFECD35}" srcId="{E6D26B2C-E499-6844-9C59-205099E0362E}" destId="{574A167D-A6F7-0F4B-9A5F-02AB9386159D}" srcOrd="2" destOrd="0" parTransId="{198BDCF3-E45D-7940-82D6-C04ABCEA90D5}" sibTransId="{5087D2E8-0E12-1348-81FC-400AB3C08FA4}"/>
    <dgm:cxn modelId="{BDF51FD2-77B3-4144-AE76-66D9D16C0711}" srcId="{40915D0D-8C3F-1145-B70C-2392B672AE4A}" destId="{D80905F5-AE81-A249-93B3-DE570B72E956}" srcOrd="1" destOrd="0" parTransId="{B816E6AB-D0BF-C04C-8C20-03EEEE09E3D9}" sibTransId="{1EEE7BC8-3847-204D-996C-A27FD3A45770}"/>
    <dgm:cxn modelId="{C77FB572-5FB8-3540-9B06-529E4598BA6E}" srcId="{46851E26-6F0A-BD4A-9144-9C33B4BCF3AE}" destId="{CACA0FF2-7D22-6943-963D-684FC69903AE}" srcOrd="3" destOrd="0" parTransId="{34A71A86-4FA3-A141-99F5-6F5656A1F704}" sibTransId="{6723D5E6-88DD-7C43-8260-F1DDF153209C}"/>
    <dgm:cxn modelId="{77D01C34-CCBB-E143-8988-91640DB895EF}" srcId="{FFD5EEE9-DF86-C647-BE19-899F1805D4D6}" destId="{ED51FBE1-0060-EF4C-A99A-C9642BF879A1}" srcOrd="2" destOrd="0" parTransId="{BD29F2D4-18B0-4D41-AB72-A7FF64EDEA9D}" sibTransId="{6887B277-FF1B-2F47-95E9-4784BFDCBB23}"/>
    <dgm:cxn modelId="{5269D1C6-E7E0-124D-9883-3AF8FD4244DB}" type="presOf" srcId="{AAEBC60A-2433-D748-8EF6-ACD49D18AAAA}" destId="{C60F2F17-A0E7-BD41-A4F2-4C87B6F6D03D}" srcOrd="0" destOrd="0" presId="urn:microsoft.com/office/officeart/2005/8/layout/process3"/>
    <dgm:cxn modelId="{AB68A05F-87C4-F74E-BEE4-F89021D8752A}" srcId="{46851E26-6F0A-BD4A-9144-9C33B4BCF3AE}" destId="{7DDE7E69-0421-EC4D-9B0C-209AD19185E8}" srcOrd="1" destOrd="0" parTransId="{0B5360C8-D1CC-4A48-AD17-72E396AAD849}" sibTransId="{BDB9544E-CC3A-6B40-882D-647F8E6E0720}"/>
    <dgm:cxn modelId="{5D6266EC-022F-3243-81B8-676281811B86}" type="presOf" srcId="{40915D0D-8C3F-1145-B70C-2392B672AE4A}" destId="{A4AB4D45-79B0-F64C-8642-9342EEB90C34}" srcOrd="1" destOrd="0" presId="urn:microsoft.com/office/officeart/2005/8/layout/process3"/>
    <dgm:cxn modelId="{7D642F2A-6A6A-CA40-AAB2-19FA15EB7159}" type="presOf" srcId="{B069CF42-6EB2-9E47-8AD5-86A7429DC72F}" destId="{94C6C4F3-8ABF-5244-A6A8-E694230A8A51}" srcOrd="0" destOrd="1" presId="urn:microsoft.com/office/officeart/2005/8/layout/process3"/>
    <dgm:cxn modelId="{DD909E02-BA9A-8043-B5D6-5161EFB36655}" type="presOf" srcId="{EFE7EE79-BC1D-5746-88CB-D41D6C572ACF}" destId="{C60F2F17-A0E7-BD41-A4F2-4C87B6F6D03D}" srcOrd="0" destOrd="1" presId="urn:microsoft.com/office/officeart/2005/8/layout/process3"/>
    <dgm:cxn modelId="{A2FDD2E8-D082-2D4A-BE68-DA21F503B4F0}" type="presOf" srcId="{46851E26-6F0A-BD4A-9144-9C33B4BCF3AE}" destId="{6E583BB5-0DC2-8244-8427-23F1326B6A56}" srcOrd="0" destOrd="0" presId="urn:microsoft.com/office/officeart/2005/8/layout/process3"/>
    <dgm:cxn modelId="{024A9B65-5786-9949-A664-CFC105436D39}" type="presOf" srcId="{FFD5EEE9-DF86-C647-BE19-899F1805D4D6}" destId="{E87CD474-7428-594A-9CA9-737920304A34}" srcOrd="1" destOrd="0" presId="urn:microsoft.com/office/officeart/2005/8/layout/process3"/>
    <dgm:cxn modelId="{28F70873-F5B8-8F4A-9903-80C2495BFFE6}" type="presOf" srcId="{7DDE7E69-0421-EC4D-9B0C-209AD19185E8}" destId="{3C1AC2DB-0FF6-AD43-8406-3D0A811A819C}" srcOrd="0" destOrd="0" presId="urn:microsoft.com/office/officeart/2005/8/layout/process3"/>
    <dgm:cxn modelId="{1FFB2057-B5CD-0F4D-B668-323AE4908B0F}" type="presOf" srcId="{D80905F5-AE81-A249-93B3-DE570B72E956}" destId="{74204A7C-6BB4-E145-B98C-47C15FDDAA76}" srcOrd="0" destOrd="1" presId="urn:microsoft.com/office/officeart/2005/8/layout/process3"/>
    <dgm:cxn modelId="{D068F6EE-84F2-0344-95C3-3C985E35087F}" type="presOf" srcId="{7DDE7E69-0421-EC4D-9B0C-209AD19185E8}" destId="{D8031396-F640-9E4A-884B-D69715A6E95B}" srcOrd="1" destOrd="0" presId="urn:microsoft.com/office/officeart/2005/8/layout/process3"/>
    <dgm:cxn modelId="{E0EF7BA3-B5B9-FA45-9947-0A387CB44B41}" type="presOf" srcId="{BDB9544E-CC3A-6B40-882D-647F8E6E0720}" destId="{B986B826-DCDC-E448-A99A-B2DAF2B4AD4A}" srcOrd="0" destOrd="0" presId="urn:microsoft.com/office/officeart/2005/8/layout/process3"/>
    <dgm:cxn modelId="{5F8C8D2B-745B-B64B-9645-95566CC97BAE}" type="presOf" srcId="{CEF8EFD4-3DDE-8140-A768-A9C0893B5399}" destId="{74204A7C-6BB4-E145-B98C-47C15FDDAA76}" srcOrd="0" destOrd="0" presId="urn:microsoft.com/office/officeart/2005/8/layout/process3"/>
    <dgm:cxn modelId="{F681C54B-1887-364E-A607-64804401CC3D}" srcId="{E6D26B2C-E499-6844-9C59-205099E0362E}" destId="{E2CCCF9F-D251-8141-BC54-973826F7BA5A}" srcOrd="0" destOrd="0" parTransId="{CAC01D5C-A521-1D41-A604-A7849224DC8B}" sibTransId="{D3A96036-0FED-9248-B746-29AEBDFDE5F7}"/>
    <dgm:cxn modelId="{6D157D50-8B7E-BE40-9F9F-923D1ABF46D2}" srcId="{CACA0FF2-7D22-6943-963D-684FC69903AE}" destId="{AAEBC60A-2433-D748-8EF6-ACD49D18AAAA}" srcOrd="0" destOrd="0" parTransId="{3FDDE776-FB49-C441-BD4B-ED5037D1326A}" sibTransId="{069215F7-8445-9E4A-BE09-E5361ADE1CEB}"/>
    <dgm:cxn modelId="{ABA3F9B8-7A78-544B-B519-BBCB8D0C71EA}" type="presOf" srcId="{FFD5EEE9-DF86-C647-BE19-899F1805D4D6}" destId="{884C0ECB-EA24-8A46-A850-E44E1691D255}" srcOrd="0" destOrd="0" presId="urn:microsoft.com/office/officeart/2005/8/layout/process3"/>
    <dgm:cxn modelId="{E6866D88-5BB4-4944-BFFE-F17935B9D664}" type="presOf" srcId="{B9D61541-CA14-0845-9D5C-E7AE283D83BD}" destId="{C60F2F17-A0E7-BD41-A4F2-4C87B6F6D03D}" srcOrd="0" destOrd="2" presId="urn:microsoft.com/office/officeart/2005/8/layout/process3"/>
    <dgm:cxn modelId="{9DE081D4-EB59-484B-A52C-DE02F93EB8F0}" type="presOf" srcId="{4FEB46E7-8596-E34E-84E0-FBB4274E0FC1}" destId="{6E3C6201-870C-0849-8DF7-12462FC419AE}" srcOrd="0" destOrd="0" presId="urn:microsoft.com/office/officeart/2005/8/layout/process3"/>
    <dgm:cxn modelId="{B24EC1F8-13C5-604D-84EA-24916ECF1563}" srcId="{FFD5EEE9-DF86-C647-BE19-899F1805D4D6}" destId="{89F712EA-BF8E-B54D-8BBB-505E538771E1}" srcOrd="0" destOrd="0" parTransId="{10FA227A-F25B-2049-AB98-D0A974759281}" sibTransId="{89896E17-2D05-E141-BF8D-050FAB67E0C2}"/>
    <dgm:cxn modelId="{E6295D36-76F2-114A-B6F0-5A012E9C3F1E}" type="presOf" srcId="{304EDEFE-6C21-874F-A1B3-B453FD2E40D1}" destId="{E227F3A5-5B4B-DA44-92AE-49BAB7276F2E}" srcOrd="0" destOrd="1" presId="urn:microsoft.com/office/officeart/2005/8/layout/process3"/>
    <dgm:cxn modelId="{72E9AB8C-9853-984E-8D22-A1288DD7E955}" srcId="{46851E26-6F0A-BD4A-9144-9C33B4BCF3AE}" destId="{E6D26B2C-E499-6844-9C59-205099E0362E}" srcOrd="0" destOrd="0" parTransId="{5367FA89-398D-604F-A011-3D33085BE0E6}" sibTransId="{4FEB46E7-8596-E34E-84E0-FBB4274E0FC1}"/>
    <dgm:cxn modelId="{99E78516-4AA7-3045-B6F0-EE4103B6EF5A}" type="presOf" srcId="{E2CCCF9F-D251-8141-BC54-973826F7BA5A}" destId="{E227F3A5-5B4B-DA44-92AE-49BAB7276F2E}" srcOrd="0" destOrd="0" presId="urn:microsoft.com/office/officeart/2005/8/layout/process3"/>
    <dgm:cxn modelId="{625BCD44-9362-3F44-9F8F-EE71DC652BC8}" type="presOf" srcId="{574A167D-A6F7-0F4B-9A5F-02AB9386159D}" destId="{E227F3A5-5B4B-DA44-92AE-49BAB7276F2E}" srcOrd="0" destOrd="2" presId="urn:microsoft.com/office/officeart/2005/8/layout/process3"/>
    <dgm:cxn modelId="{DF1AA6F3-7E05-714D-8C59-D6A4E0BA01A7}" srcId="{46851E26-6F0A-BD4A-9144-9C33B4BCF3AE}" destId="{40915D0D-8C3F-1145-B70C-2392B672AE4A}" srcOrd="2" destOrd="0" parTransId="{83D1C4A9-0A3B-DF48-B5C8-A9BDA96A7D7D}" sibTransId="{5C183621-B0D5-D347-92A0-4A1488627DF4}"/>
    <dgm:cxn modelId="{344EAFEC-7336-FF4D-8102-0ABBE36E18F2}" type="presOf" srcId="{5C183621-B0D5-D347-92A0-4A1488627DF4}" destId="{0F1E61FF-E7A7-5B4F-9213-241329CC7283}" srcOrd="1" destOrd="0" presId="urn:microsoft.com/office/officeart/2005/8/layout/process3"/>
    <dgm:cxn modelId="{C28C235E-9E37-4949-91DC-18DB44B5BE07}" type="presOf" srcId="{E6D26B2C-E499-6844-9C59-205099E0362E}" destId="{8F36180B-0974-B045-A8C4-C139A898CF59}" srcOrd="0" destOrd="0" presId="urn:microsoft.com/office/officeart/2005/8/layout/process3"/>
    <dgm:cxn modelId="{D0180975-1958-0942-9963-B4E4B9DECF7F}" type="presOf" srcId="{4FEB46E7-8596-E34E-84E0-FBB4274E0FC1}" destId="{39B52216-DBA8-4040-8852-3560E7814A4E}" srcOrd="1" destOrd="0" presId="urn:microsoft.com/office/officeart/2005/8/layout/process3"/>
    <dgm:cxn modelId="{14918EAF-A26E-6446-AE2E-5260EF104BB3}" srcId="{7DDE7E69-0421-EC4D-9B0C-209AD19185E8}" destId="{A5CB9A1D-5126-8741-9E0B-4F78E3227967}" srcOrd="0" destOrd="0" parTransId="{F9F91E46-EC21-214F-994F-76717DA8885A}" sibTransId="{78575131-B7DA-7140-9E03-0553EA6A273B}"/>
    <dgm:cxn modelId="{DA59AB38-62B2-3C43-A485-D378AC1F2094}" srcId="{CACA0FF2-7D22-6943-963D-684FC69903AE}" destId="{B9D61541-CA14-0845-9D5C-E7AE283D83BD}" srcOrd="2" destOrd="0" parTransId="{08999E76-52EE-054F-AA8E-DFB87F850B93}" sibTransId="{B8D7DF56-C1F6-C344-B580-172D86D34D06}"/>
    <dgm:cxn modelId="{FAD743E9-C146-3C43-A2D5-3B591A96A9B4}" type="presOf" srcId="{6723D5E6-88DD-7C43-8260-F1DDF153209C}" destId="{624B31B4-4707-9D4B-B55E-28B3FC9B8274}" srcOrd="1" destOrd="0" presId="urn:microsoft.com/office/officeart/2005/8/layout/process3"/>
    <dgm:cxn modelId="{EA81B145-8E9B-BE4B-89A4-E496D96FC3FD}" type="presOf" srcId="{A5CB9A1D-5126-8741-9E0B-4F78E3227967}" destId="{7329B6B2-203C-0945-A2CA-E8C4E7E0FBB4}" srcOrd="0" destOrd="0" presId="urn:microsoft.com/office/officeart/2005/8/layout/process3"/>
    <dgm:cxn modelId="{A7FF35B5-C0A3-9045-BDF0-824993BCAF18}" srcId="{FFD5EEE9-DF86-C647-BE19-899F1805D4D6}" destId="{B069CF42-6EB2-9E47-8AD5-86A7429DC72F}" srcOrd="1" destOrd="0" parTransId="{8DBB8ADD-9410-484C-B7C0-B086AB93A21C}" sibTransId="{B508FC85-9D77-3141-A70A-6C94491C9486}"/>
    <dgm:cxn modelId="{C0A3CE2A-1F19-9648-88D2-FA1AD89E83B2}" type="presOf" srcId="{40915D0D-8C3F-1145-B70C-2392B672AE4A}" destId="{23A97C79-E51C-C347-B80D-2E625C438076}" srcOrd="0" destOrd="0" presId="urn:microsoft.com/office/officeart/2005/8/layout/process3"/>
    <dgm:cxn modelId="{5EF7CBF1-3752-2544-A6E4-5C0C1B6DB0FA}" type="presOf" srcId="{BDB9544E-CC3A-6B40-882D-647F8E6E0720}" destId="{72A95398-7D6E-864D-AF04-0616C9560B72}" srcOrd="1" destOrd="0" presId="urn:microsoft.com/office/officeart/2005/8/layout/process3"/>
    <dgm:cxn modelId="{16847CB3-C347-C346-8649-64B3CD0E2C7C}" type="presOf" srcId="{CACA0FF2-7D22-6943-963D-684FC69903AE}" destId="{4F5AE93E-A193-4D46-B246-E713521FFAD7}" srcOrd="1" destOrd="0" presId="urn:microsoft.com/office/officeart/2005/8/layout/process3"/>
    <dgm:cxn modelId="{377FCE36-383B-8840-B0C1-0E376463C3B0}" type="presOf" srcId="{ED51FBE1-0060-EF4C-A99A-C9642BF879A1}" destId="{94C6C4F3-8ABF-5244-A6A8-E694230A8A51}" srcOrd="0" destOrd="2" presId="urn:microsoft.com/office/officeart/2005/8/layout/process3"/>
    <dgm:cxn modelId="{990B33D4-E885-094C-B827-3A524E2A295A}" type="presOf" srcId="{E6D26B2C-E499-6844-9C59-205099E0362E}" destId="{3E277A9B-F356-6044-9C47-3890E4FB903E}" srcOrd="1" destOrd="0" presId="urn:microsoft.com/office/officeart/2005/8/layout/process3"/>
    <dgm:cxn modelId="{9D9A7C1F-93E4-C648-AF99-589285956BE3}" srcId="{CACA0FF2-7D22-6943-963D-684FC69903AE}" destId="{11506229-8BE6-FA40-85FC-93BF1A034F9E}" srcOrd="3" destOrd="0" parTransId="{523283A8-8009-0749-A00B-DE5E2E79AC00}" sibTransId="{F459781C-35BF-1746-AA43-579023408E6C}"/>
    <dgm:cxn modelId="{10A62692-EA9B-D841-9357-7E6E71BA9533}" srcId="{CACA0FF2-7D22-6943-963D-684FC69903AE}" destId="{EFE7EE79-BC1D-5746-88CB-D41D6C572ACF}" srcOrd="1" destOrd="0" parTransId="{8629C6C3-4827-CD47-83C9-1D1EC939A726}" sibTransId="{CA5DC222-4BD2-CA4D-B305-666A022B0D26}"/>
    <dgm:cxn modelId="{E7D19C34-67AD-4E4C-9DA0-20A986BE68F7}" srcId="{40915D0D-8C3F-1145-B70C-2392B672AE4A}" destId="{CEF8EFD4-3DDE-8140-A768-A9C0893B5399}" srcOrd="0" destOrd="0" parTransId="{FDF9E59C-DFE0-EF4D-89C8-4CB09C9BCCBA}" sibTransId="{EED99370-1D91-5949-809F-D44A2080A514}"/>
    <dgm:cxn modelId="{82B167A4-FDDD-B54E-A95F-1FDE0A09DA13}" type="presOf" srcId="{11506229-8BE6-FA40-85FC-93BF1A034F9E}" destId="{C60F2F17-A0E7-BD41-A4F2-4C87B6F6D03D}" srcOrd="0" destOrd="3" presId="urn:microsoft.com/office/officeart/2005/8/layout/process3"/>
    <dgm:cxn modelId="{A0C427F4-D397-3547-A155-A871920E540C}" srcId="{E6D26B2C-E499-6844-9C59-205099E0362E}" destId="{304EDEFE-6C21-874F-A1B3-B453FD2E40D1}" srcOrd="1" destOrd="0" parTransId="{6C0060A7-372D-ED4D-B7B1-7FE27AA6EE11}" sibTransId="{ABD9D56E-DF90-9B42-95C7-1A4956AD981D}"/>
    <dgm:cxn modelId="{D64A2C65-3892-604F-A867-0F7FDF660B65}" type="presOf" srcId="{89F712EA-BF8E-B54D-8BBB-505E538771E1}" destId="{94C6C4F3-8ABF-5244-A6A8-E694230A8A51}" srcOrd="0" destOrd="0" presId="urn:microsoft.com/office/officeart/2005/8/layout/process3"/>
    <dgm:cxn modelId="{43FC914E-3C74-4E4F-927B-2E83CA07B806}" srcId="{46851E26-6F0A-BD4A-9144-9C33B4BCF3AE}" destId="{FFD5EEE9-DF86-C647-BE19-899F1805D4D6}" srcOrd="4" destOrd="0" parTransId="{F8F7F4A2-42B2-2E40-AB72-52B4E82B90E6}" sibTransId="{03B86CD2-6BC7-A041-9B19-5D672253E875}"/>
    <dgm:cxn modelId="{27DFCC72-216C-2744-9FA0-999BE2FD0E05}" type="presParOf" srcId="{6E583BB5-0DC2-8244-8427-23F1326B6A56}" destId="{0A23611D-1A83-604C-8D87-181B990B6E04}" srcOrd="0" destOrd="0" presId="urn:microsoft.com/office/officeart/2005/8/layout/process3"/>
    <dgm:cxn modelId="{574BFDB8-F683-AB45-96CA-78A9B647EA38}" type="presParOf" srcId="{0A23611D-1A83-604C-8D87-181B990B6E04}" destId="{8F36180B-0974-B045-A8C4-C139A898CF59}" srcOrd="0" destOrd="0" presId="urn:microsoft.com/office/officeart/2005/8/layout/process3"/>
    <dgm:cxn modelId="{D19E8614-23D1-E446-AAEE-A3115B5C48A8}" type="presParOf" srcId="{0A23611D-1A83-604C-8D87-181B990B6E04}" destId="{3E277A9B-F356-6044-9C47-3890E4FB903E}" srcOrd="1" destOrd="0" presId="urn:microsoft.com/office/officeart/2005/8/layout/process3"/>
    <dgm:cxn modelId="{636962C8-F234-3540-9F55-D31C9EE3B17F}" type="presParOf" srcId="{0A23611D-1A83-604C-8D87-181B990B6E04}" destId="{E227F3A5-5B4B-DA44-92AE-49BAB7276F2E}" srcOrd="2" destOrd="0" presId="urn:microsoft.com/office/officeart/2005/8/layout/process3"/>
    <dgm:cxn modelId="{A4DAC6AB-9DB7-F940-83B5-609E6308D72A}" type="presParOf" srcId="{6E583BB5-0DC2-8244-8427-23F1326B6A56}" destId="{6E3C6201-870C-0849-8DF7-12462FC419AE}" srcOrd="1" destOrd="0" presId="urn:microsoft.com/office/officeart/2005/8/layout/process3"/>
    <dgm:cxn modelId="{714AAD43-6FA2-4D4E-B64A-26CFDC79D3D5}" type="presParOf" srcId="{6E3C6201-870C-0849-8DF7-12462FC419AE}" destId="{39B52216-DBA8-4040-8852-3560E7814A4E}" srcOrd="0" destOrd="0" presId="urn:microsoft.com/office/officeart/2005/8/layout/process3"/>
    <dgm:cxn modelId="{F54B8DB3-7CB1-714B-9C92-031C116A57E1}" type="presParOf" srcId="{6E583BB5-0DC2-8244-8427-23F1326B6A56}" destId="{2EDA7C99-B7D2-5D48-99AA-DEE12AAF72B7}" srcOrd="2" destOrd="0" presId="urn:microsoft.com/office/officeart/2005/8/layout/process3"/>
    <dgm:cxn modelId="{97F4F6DD-B665-FC41-ACAC-81595A019439}" type="presParOf" srcId="{2EDA7C99-B7D2-5D48-99AA-DEE12AAF72B7}" destId="{3C1AC2DB-0FF6-AD43-8406-3D0A811A819C}" srcOrd="0" destOrd="0" presId="urn:microsoft.com/office/officeart/2005/8/layout/process3"/>
    <dgm:cxn modelId="{F13DBF06-3EAF-C04C-8C2E-54C6B344326A}" type="presParOf" srcId="{2EDA7C99-B7D2-5D48-99AA-DEE12AAF72B7}" destId="{D8031396-F640-9E4A-884B-D69715A6E95B}" srcOrd="1" destOrd="0" presId="urn:microsoft.com/office/officeart/2005/8/layout/process3"/>
    <dgm:cxn modelId="{CE65C375-4870-DB44-BD58-7DBA272EEA2A}" type="presParOf" srcId="{2EDA7C99-B7D2-5D48-99AA-DEE12AAF72B7}" destId="{7329B6B2-203C-0945-A2CA-E8C4E7E0FBB4}" srcOrd="2" destOrd="0" presId="urn:microsoft.com/office/officeart/2005/8/layout/process3"/>
    <dgm:cxn modelId="{B38DF576-8CF8-674D-8C14-ADE601448FD6}" type="presParOf" srcId="{6E583BB5-0DC2-8244-8427-23F1326B6A56}" destId="{B986B826-DCDC-E448-A99A-B2DAF2B4AD4A}" srcOrd="3" destOrd="0" presId="urn:microsoft.com/office/officeart/2005/8/layout/process3"/>
    <dgm:cxn modelId="{24854004-F9A1-B14F-AAA8-C127804E0E90}" type="presParOf" srcId="{B986B826-DCDC-E448-A99A-B2DAF2B4AD4A}" destId="{72A95398-7D6E-864D-AF04-0616C9560B72}" srcOrd="0" destOrd="0" presId="urn:microsoft.com/office/officeart/2005/8/layout/process3"/>
    <dgm:cxn modelId="{6FA276C6-45C8-EC45-8892-82D8BF64CD4C}" type="presParOf" srcId="{6E583BB5-0DC2-8244-8427-23F1326B6A56}" destId="{F2E066C1-8C8B-DF41-A27A-694E1043769D}" srcOrd="4" destOrd="0" presId="urn:microsoft.com/office/officeart/2005/8/layout/process3"/>
    <dgm:cxn modelId="{D93C8FD6-767B-3148-A691-938419BB01D2}" type="presParOf" srcId="{F2E066C1-8C8B-DF41-A27A-694E1043769D}" destId="{23A97C79-E51C-C347-B80D-2E625C438076}" srcOrd="0" destOrd="0" presId="urn:microsoft.com/office/officeart/2005/8/layout/process3"/>
    <dgm:cxn modelId="{FF23BACB-833D-0340-BE25-A2726889D849}" type="presParOf" srcId="{F2E066C1-8C8B-DF41-A27A-694E1043769D}" destId="{A4AB4D45-79B0-F64C-8642-9342EEB90C34}" srcOrd="1" destOrd="0" presId="urn:microsoft.com/office/officeart/2005/8/layout/process3"/>
    <dgm:cxn modelId="{8A9B9C59-0D7E-D042-9617-CD2014B76EC0}" type="presParOf" srcId="{F2E066C1-8C8B-DF41-A27A-694E1043769D}" destId="{74204A7C-6BB4-E145-B98C-47C15FDDAA76}" srcOrd="2" destOrd="0" presId="urn:microsoft.com/office/officeart/2005/8/layout/process3"/>
    <dgm:cxn modelId="{0C9A910E-4C3F-8149-A803-EE1BE3B62656}" type="presParOf" srcId="{6E583BB5-0DC2-8244-8427-23F1326B6A56}" destId="{31D09215-FC1D-0444-8342-ABC969FC4278}" srcOrd="5" destOrd="0" presId="urn:microsoft.com/office/officeart/2005/8/layout/process3"/>
    <dgm:cxn modelId="{B8A257D9-FAF4-2242-8F54-B05BF1488C1A}" type="presParOf" srcId="{31D09215-FC1D-0444-8342-ABC969FC4278}" destId="{0F1E61FF-E7A7-5B4F-9213-241329CC7283}" srcOrd="0" destOrd="0" presId="urn:microsoft.com/office/officeart/2005/8/layout/process3"/>
    <dgm:cxn modelId="{9A0EBC63-28DC-8C4C-8951-74A7A4EF2BCC}" type="presParOf" srcId="{6E583BB5-0DC2-8244-8427-23F1326B6A56}" destId="{0639757C-3B65-004E-97A5-5B9668B0FF52}" srcOrd="6" destOrd="0" presId="urn:microsoft.com/office/officeart/2005/8/layout/process3"/>
    <dgm:cxn modelId="{2B5C2416-5C16-654E-8B00-0DC233545D79}" type="presParOf" srcId="{0639757C-3B65-004E-97A5-5B9668B0FF52}" destId="{23B46C20-A8EA-A54C-BEEC-B9A3DA3D52D3}" srcOrd="0" destOrd="0" presId="urn:microsoft.com/office/officeart/2005/8/layout/process3"/>
    <dgm:cxn modelId="{7494EFD5-9537-2A46-A9A8-51EBE1E466EA}" type="presParOf" srcId="{0639757C-3B65-004E-97A5-5B9668B0FF52}" destId="{4F5AE93E-A193-4D46-B246-E713521FFAD7}" srcOrd="1" destOrd="0" presId="urn:microsoft.com/office/officeart/2005/8/layout/process3"/>
    <dgm:cxn modelId="{BA5A884A-ABA0-2649-BB6A-4D169FF17098}" type="presParOf" srcId="{0639757C-3B65-004E-97A5-5B9668B0FF52}" destId="{C60F2F17-A0E7-BD41-A4F2-4C87B6F6D03D}" srcOrd="2" destOrd="0" presId="urn:microsoft.com/office/officeart/2005/8/layout/process3"/>
    <dgm:cxn modelId="{6DA4C0B5-2064-FA41-A273-230AF42D08E5}" type="presParOf" srcId="{6E583BB5-0DC2-8244-8427-23F1326B6A56}" destId="{C94C3786-CD7C-F046-B206-4C4F218EC873}" srcOrd="7" destOrd="0" presId="urn:microsoft.com/office/officeart/2005/8/layout/process3"/>
    <dgm:cxn modelId="{03071373-4585-EC48-980E-00D4C0F388CB}" type="presParOf" srcId="{C94C3786-CD7C-F046-B206-4C4F218EC873}" destId="{624B31B4-4707-9D4B-B55E-28B3FC9B8274}" srcOrd="0" destOrd="0" presId="urn:microsoft.com/office/officeart/2005/8/layout/process3"/>
    <dgm:cxn modelId="{C68893DB-29C7-7E40-A963-1E38BEEA7292}" type="presParOf" srcId="{6E583BB5-0DC2-8244-8427-23F1326B6A56}" destId="{EF124A20-2A04-8243-BFAA-9E3251A0B556}" srcOrd="8" destOrd="0" presId="urn:microsoft.com/office/officeart/2005/8/layout/process3"/>
    <dgm:cxn modelId="{E0EBDCBF-569E-E648-ADD2-40A9B741FFED}" type="presParOf" srcId="{EF124A20-2A04-8243-BFAA-9E3251A0B556}" destId="{884C0ECB-EA24-8A46-A850-E44E1691D255}" srcOrd="0" destOrd="0" presId="urn:microsoft.com/office/officeart/2005/8/layout/process3"/>
    <dgm:cxn modelId="{12CE23A3-85FD-4445-B5D7-9EC16C780CD5}" type="presParOf" srcId="{EF124A20-2A04-8243-BFAA-9E3251A0B556}" destId="{E87CD474-7428-594A-9CA9-737920304A34}" srcOrd="1" destOrd="0" presId="urn:microsoft.com/office/officeart/2005/8/layout/process3"/>
    <dgm:cxn modelId="{9B167242-B5DF-7747-84C1-02254FC9420A}" type="presParOf" srcId="{EF124A20-2A04-8243-BFAA-9E3251A0B556}" destId="{94C6C4F3-8ABF-5244-A6A8-E694230A8A51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277A9B-F356-6044-9C47-3890E4FB903E}">
      <dsp:nvSpPr>
        <dsp:cNvPr id="0" name=""/>
        <dsp:cNvSpPr/>
      </dsp:nvSpPr>
      <dsp:spPr>
        <a:xfrm>
          <a:off x="5101" y="1821454"/>
          <a:ext cx="1150942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700" kern="1200" dirty="0" smtClean="0">
              <a:latin typeface="Arial"/>
              <a:cs typeface="Arial"/>
            </a:rPr>
            <a:t>Informasjon / Ruter </a:t>
          </a:r>
          <a:r>
            <a:rPr lang="nb-NO" sz="700" kern="1200" dirty="0" err="1" smtClean="0">
              <a:latin typeface="Arial"/>
              <a:cs typeface="Arial"/>
            </a:rPr>
            <a:t>Flex</a:t>
          </a:r>
          <a:endParaRPr lang="nb-NO" sz="700" kern="1200" dirty="0">
            <a:latin typeface="Arial"/>
            <a:cs typeface="Arial"/>
          </a:endParaRPr>
        </a:p>
      </dsp:txBody>
      <dsp:txXfrm>
        <a:off x="5101" y="1821454"/>
        <a:ext cx="1150942" cy="201600"/>
      </dsp:txXfrm>
    </dsp:sp>
    <dsp:sp modelId="{E227F3A5-5B4B-DA44-92AE-49BAB7276F2E}">
      <dsp:nvSpPr>
        <dsp:cNvPr id="0" name=""/>
        <dsp:cNvSpPr/>
      </dsp:nvSpPr>
      <dsp:spPr>
        <a:xfrm>
          <a:off x="240836" y="2023053"/>
          <a:ext cx="1150942" cy="5669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SMS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/>
            <a:t>APP Puch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/>
            <a:t>Innmelding / Utmelding </a:t>
          </a:r>
          <a:endParaRPr lang="nb-NO" sz="700" kern="1200" dirty="0"/>
        </a:p>
      </dsp:txBody>
      <dsp:txXfrm>
        <a:off x="257443" y="2039660"/>
        <a:ext cx="1117728" cy="533785"/>
      </dsp:txXfrm>
    </dsp:sp>
    <dsp:sp modelId="{6E3C6201-870C-0849-8DF7-12462FC419AE}">
      <dsp:nvSpPr>
        <dsp:cNvPr id="0" name=""/>
        <dsp:cNvSpPr/>
      </dsp:nvSpPr>
      <dsp:spPr>
        <a:xfrm>
          <a:off x="1330522" y="1778978"/>
          <a:ext cx="369894" cy="2865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600" kern="1200"/>
        </a:p>
      </dsp:txBody>
      <dsp:txXfrm>
        <a:off x="1330522" y="1836288"/>
        <a:ext cx="283929" cy="171931"/>
      </dsp:txXfrm>
    </dsp:sp>
    <dsp:sp modelId="{D8031396-F640-9E4A-884B-D69715A6E95B}">
      <dsp:nvSpPr>
        <dsp:cNvPr id="0" name=""/>
        <dsp:cNvSpPr/>
      </dsp:nvSpPr>
      <dsp:spPr>
        <a:xfrm>
          <a:off x="1853958" y="1821454"/>
          <a:ext cx="1150942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700" kern="1200" dirty="0" smtClean="0">
              <a:latin typeface="Arial"/>
              <a:cs typeface="Arial"/>
            </a:rPr>
            <a:t>Dialog </a:t>
          </a:r>
          <a:endParaRPr lang="nb-NO" sz="700" kern="1200" dirty="0">
            <a:latin typeface="Arial"/>
            <a:cs typeface="Arial"/>
          </a:endParaRPr>
        </a:p>
      </dsp:txBody>
      <dsp:txXfrm>
        <a:off x="1853958" y="1821454"/>
        <a:ext cx="1150942" cy="201600"/>
      </dsp:txXfrm>
    </dsp:sp>
    <dsp:sp modelId="{7329B6B2-203C-0945-A2CA-E8C4E7E0FBB4}">
      <dsp:nvSpPr>
        <dsp:cNvPr id="0" name=""/>
        <dsp:cNvSpPr/>
      </dsp:nvSpPr>
      <dsp:spPr>
        <a:xfrm>
          <a:off x="2089693" y="2023053"/>
          <a:ext cx="1150942" cy="5669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To veis dialog med brukere i alle kanaler</a:t>
          </a:r>
          <a:endParaRPr lang="nb-NO" sz="700" kern="1200" dirty="0"/>
        </a:p>
      </dsp:txBody>
      <dsp:txXfrm>
        <a:off x="2106300" y="2039660"/>
        <a:ext cx="1117728" cy="533785"/>
      </dsp:txXfrm>
    </dsp:sp>
    <dsp:sp modelId="{B986B826-DCDC-E448-A99A-B2DAF2B4AD4A}">
      <dsp:nvSpPr>
        <dsp:cNvPr id="0" name=""/>
        <dsp:cNvSpPr/>
      </dsp:nvSpPr>
      <dsp:spPr>
        <a:xfrm>
          <a:off x="3179379" y="1778978"/>
          <a:ext cx="369894" cy="2865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600" kern="1200"/>
        </a:p>
      </dsp:txBody>
      <dsp:txXfrm>
        <a:off x="3179379" y="1836288"/>
        <a:ext cx="283929" cy="171931"/>
      </dsp:txXfrm>
    </dsp:sp>
    <dsp:sp modelId="{A4AB4D45-79B0-F64C-8642-9342EEB90C34}">
      <dsp:nvSpPr>
        <dsp:cNvPr id="0" name=""/>
        <dsp:cNvSpPr/>
      </dsp:nvSpPr>
      <dsp:spPr>
        <a:xfrm>
          <a:off x="3702815" y="1821454"/>
          <a:ext cx="1150942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700" kern="1200" dirty="0" smtClean="0">
              <a:latin typeface="Arial"/>
              <a:cs typeface="Arial"/>
            </a:rPr>
            <a:t>Betaling </a:t>
          </a:r>
          <a:endParaRPr lang="nb-NO" sz="700" kern="1200" dirty="0">
            <a:latin typeface="Arial"/>
            <a:cs typeface="Arial"/>
          </a:endParaRPr>
        </a:p>
      </dsp:txBody>
      <dsp:txXfrm>
        <a:off x="3702815" y="1821454"/>
        <a:ext cx="1150942" cy="201600"/>
      </dsp:txXfrm>
    </dsp:sp>
    <dsp:sp modelId="{74204A7C-6BB4-E145-B98C-47C15FDDAA76}">
      <dsp:nvSpPr>
        <dsp:cNvPr id="0" name=""/>
        <dsp:cNvSpPr/>
      </dsp:nvSpPr>
      <dsp:spPr>
        <a:xfrm>
          <a:off x="3938550" y="2023053"/>
          <a:ext cx="1150942" cy="5669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Mobile </a:t>
          </a:r>
          <a:r>
            <a:rPr lang="nb-NO" sz="700" kern="1200" dirty="0" err="1" smtClean="0">
              <a:latin typeface="Arial"/>
              <a:cs typeface="Arial"/>
            </a:rPr>
            <a:t>Payment</a:t>
          </a:r>
          <a:r>
            <a:rPr lang="nb-NO" sz="700" kern="1200" dirty="0" smtClean="0">
              <a:latin typeface="Arial"/>
              <a:cs typeface="Arial"/>
            </a:rPr>
            <a:t> </a:t>
          </a:r>
          <a:endParaRPr lang="nb-NO" sz="700" kern="1200" dirty="0">
            <a:latin typeface="Arial"/>
            <a:cs typeface="Arial"/>
          </a:endParaRP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err="1" smtClean="0">
              <a:latin typeface="Arial"/>
              <a:cs typeface="Arial"/>
            </a:rPr>
            <a:t>Multi</a:t>
          </a:r>
          <a:r>
            <a:rPr lang="nb-NO" sz="700" kern="1200" dirty="0" smtClean="0">
              <a:latin typeface="Arial"/>
              <a:cs typeface="Arial"/>
            </a:rPr>
            <a:t> </a:t>
          </a:r>
          <a:r>
            <a:rPr lang="nb-NO" sz="700" kern="1200" dirty="0" err="1" smtClean="0">
              <a:latin typeface="Arial"/>
              <a:cs typeface="Arial"/>
            </a:rPr>
            <a:t>pay</a:t>
          </a:r>
          <a:r>
            <a:rPr lang="nb-NO" sz="700" kern="1200" dirty="0" smtClean="0">
              <a:latin typeface="Arial"/>
              <a:cs typeface="Arial"/>
            </a:rPr>
            <a:t> </a:t>
          </a:r>
          <a:r>
            <a:rPr lang="nb-NO" sz="700" kern="1200" dirty="0" err="1" smtClean="0">
              <a:latin typeface="Arial"/>
              <a:cs typeface="Arial"/>
            </a:rPr>
            <a:t>gateway</a:t>
          </a:r>
          <a:endParaRPr lang="nb-NO" sz="700" kern="1200" dirty="0">
            <a:latin typeface="Arial"/>
            <a:cs typeface="Arial"/>
          </a:endParaRPr>
        </a:p>
      </dsp:txBody>
      <dsp:txXfrm>
        <a:off x="3955157" y="2039660"/>
        <a:ext cx="1117728" cy="533785"/>
      </dsp:txXfrm>
    </dsp:sp>
    <dsp:sp modelId="{31D09215-FC1D-0444-8342-ABC969FC4278}">
      <dsp:nvSpPr>
        <dsp:cNvPr id="0" name=""/>
        <dsp:cNvSpPr/>
      </dsp:nvSpPr>
      <dsp:spPr>
        <a:xfrm>
          <a:off x="5028236" y="1778978"/>
          <a:ext cx="369894" cy="2865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600" kern="1200"/>
        </a:p>
      </dsp:txBody>
      <dsp:txXfrm>
        <a:off x="5028236" y="1836288"/>
        <a:ext cx="283929" cy="171931"/>
      </dsp:txXfrm>
    </dsp:sp>
    <dsp:sp modelId="{4F5AE93E-A193-4D46-B246-E713521FFAD7}">
      <dsp:nvSpPr>
        <dsp:cNvPr id="0" name=""/>
        <dsp:cNvSpPr/>
      </dsp:nvSpPr>
      <dsp:spPr>
        <a:xfrm>
          <a:off x="5551672" y="1821454"/>
          <a:ext cx="1150942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700" kern="1200" dirty="0" smtClean="0">
              <a:latin typeface="Arial"/>
              <a:cs typeface="Arial"/>
            </a:rPr>
            <a:t>Big data</a:t>
          </a:r>
          <a:endParaRPr lang="nb-NO" sz="700" kern="1200" dirty="0" smtClean="0">
            <a:latin typeface="Arial"/>
            <a:cs typeface="Arial"/>
          </a:endParaRPr>
        </a:p>
      </dsp:txBody>
      <dsp:txXfrm>
        <a:off x="5551672" y="1821454"/>
        <a:ext cx="1150942" cy="201600"/>
      </dsp:txXfrm>
    </dsp:sp>
    <dsp:sp modelId="{C60F2F17-A0E7-BD41-A4F2-4C87B6F6D03D}">
      <dsp:nvSpPr>
        <dsp:cNvPr id="0" name=""/>
        <dsp:cNvSpPr/>
      </dsp:nvSpPr>
      <dsp:spPr>
        <a:xfrm>
          <a:off x="5787407" y="2023053"/>
          <a:ext cx="1150942" cy="5669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Brukerinformasjon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Preferanser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Deling av data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Intelgens  </a:t>
          </a:r>
          <a:endParaRPr lang="nb-NO" sz="700" kern="1200" dirty="0"/>
        </a:p>
      </dsp:txBody>
      <dsp:txXfrm>
        <a:off x="5804014" y="2039660"/>
        <a:ext cx="1117728" cy="533785"/>
      </dsp:txXfrm>
    </dsp:sp>
    <dsp:sp modelId="{C94C3786-CD7C-F046-B206-4C4F218EC873}">
      <dsp:nvSpPr>
        <dsp:cNvPr id="0" name=""/>
        <dsp:cNvSpPr/>
      </dsp:nvSpPr>
      <dsp:spPr>
        <a:xfrm>
          <a:off x="6877093" y="1778978"/>
          <a:ext cx="369894" cy="28655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600" kern="1200"/>
        </a:p>
      </dsp:txBody>
      <dsp:txXfrm>
        <a:off x="6877093" y="1836288"/>
        <a:ext cx="283929" cy="171931"/>
      </dsp:txXfrm>
    </dsp:sp>
    <dsp:sp modelId="{E87CD474-7428-594A-9CA9-737920304A34}">
      <dsp:nvSpPr>
        <dsp:cNvPr id="0" name=""/>
        <dsp:cNvSpPr/>
      </dsp:nvSpPr>
      <dsp:spPr>
        <a:xfrm>
          <a:off x="7400529" y="1821454"/>
          <a:ext cx="1150942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700" kern="1200" dirty="0" smtClean="0">
              <a:latin typeface="Arial"/>
              <a:cs typeface="Arial"/>
            </a:rPr>
            <a:t>Kampanje  </a:t>
          </a:r>
          <a:endParaRPr lang="nb-NO" sz="700" kern="1200" dirty="0" smtClean="0">
            <a:latin typeface="Arial"/>
            <a:cs typeface="Arial"/>
          </a:endParaRPr>
        </a:p>
      </dsp:txBody>
      <dsp:txXfrm>
        <a:off x="7400529" y="1821454"/>
        <a:ext cx="1150942" cy="201600"/>
      </dsp:txXfrm>
    </dsp:sp>
    <dsp:sp modelId="{94C6C4F3-8ABF-5244-A6A8-E694230A8A51}">
      <dsp:nvSpPr>
        <dsp:cNvPr id="0" name=""/>
        <dsp:cNvSpPr/>
      </dsp:nvSpPr>
      <dsp:spPr>
        <a:xfrm>
          <a:off x="7636264" y="2023053"/>
          <a:ext cx="1150942" cy="5669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Miljøfremende kampanjer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 </a:t>
          </a:r>
          <a:r>
            <a:rPr lang="nb-NO" sz="700" kern="1200" dirty="0" err="1" smtClean="0">
              <a:latin typeface="Arial"/>
              <a:cs typeface="Arial"/>
            </a:rPr>
            <a:t>Bundelekampanjer</a:t>
          </a:r>
          <a:endParaRPr lang="nb-NO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700" kern="1200" dirty="0" smtClean="0">
              <a:latin typeface="Arial"/>
              <a:cs typeface="Arial"/>
            </a:rPr>
            <a:t>Registeringskampanjer  </a:t>
          </a:r>
          <a:endParaRPr lang="nb-NO" sz="700" kern="1200" dirty="0"/>
        </a:p>
      </dsp:txBody>
      <dsp:txXfrm>
        <a:off x="7652871" y="2039660"/>
        <a:ext cx="1117728" cy="5337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BA0C90-CCE6-E64A-BD17-AC09303D164D}" type="datetimeFigureOut">
              <a:t>30.03.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962CD-A823-3549-8E9A-7B934F39F4BB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5488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946A4-6414-0E4E-90E8-19F30C7DC989}" type="datetimeFigureOut">
              <a:t>30.03.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166871-2401-B840-9406-9E8DCBC9336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2180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166871-2401-B840-9406-9E8DCBC9336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0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sz="1200" kern="1200" dirty="0" smtClean="0">
                <a:solidFill>
                  <a:srgbClr val="00000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 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166871-2401-B840-9406-9E8DCBC93367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922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ukere krever skredder­sydde og individuelt til­passede produkter, tjenester og opplevelser. De reisende velger </a:t>
            </a:r>
            <a:r>
              <a:rPr lang="nb-NO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bilitets­løsning</a:t>
            </a: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t fra hva som best dekker deres individuelle behov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166871-2401-B840-9406-9E8DCBC9336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1253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083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S Gateway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2903"/>
            <a:ext cx="3495358" cy="915605"/>
          </a:xfrm>
        </p:spPr>
        <p:txBody>
          <a:bodyPr anchor="t"/>
          <a:lstStyle>
            <a:lvl1pPr algn="l">
              <a:lnSpc>
                <a:spcPct val="80000"/>
              </a:lnSpc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761949"/>
            <a:ext cx="3815835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682561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nation1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pic>
        <p:nvPicPr>
          <p:cNvPr id="10" name="Picture 9" descr="image_3copy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096" y="-180411"/>
            <a:ext cx="6097905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78943"/>
            <a:ext cx="632031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5573405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nation2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78943"/>
            <a:ext cx="632031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59540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Payment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78943"/>
            <a:ext cx="632031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608885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1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78943"/>
            <a:ext cx="632031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552319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Data2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9885" y="478943"/>
            <a:ext cx="4271224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39886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9232630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st1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9885" y="478943"/>
            <a:ext cx="4271224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39886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613952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st2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9885" y="478943"/>
            <a:ext cx="4271224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39886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3394100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Picture w/caption1 – Link Mo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4335723"/>
            <a:ext cx="5486400" cy="425054"/>
          </a:xfrm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nb-NO"/>
              <a:t>Text in her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02398" y="690889"/>
            <a:ext cx="6466180" cy="3637226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922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Picture w/caption2 – Link Mo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499780"/>
            <a:ext cx="5486400" cy="425054"/>
          </a:xfrm>
        </p:spPr>
        <p:txBody>
          <a:bodyPr anchor="ctr">
            <a:normAutofit/>
          </a:bodyPr>
          <a:lstStyle>
            <a:lvl1pPr algn="ctr">
              <a:defRPr sz="1200" b="0"/>
            </a:lvl1pPr>
          </a:lstStyle>
          <a:p>
            <a:r>
              <a:rPr lang="nb-NO"/>
              <a:t>Text in her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02398" y="924835"/>
            <a:ext cx="6466180" cy="3637226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4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84884"/>
            <a:ext cx="822960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Insert text he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pic>
        <p:nvPicPr>
          <p:cNvPr id="10" name="Picture 9" descr="logo AAA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4264483"/>
            <a:ext cx="679523" cy="295592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1300164"/>
            <a:ext cx="4581525" cy="276989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200" baseline="0">
                <a:solidFill>
                  <a:srgbClr val="00C6E8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2118003"/>
            <a:ext cx="4581525" cy="353933"/>
          </a:xfrm>
        </p:spPr>
        <p:txBody>
          <a:bodyPr>
            <a:spAutoFit/>
          </a:bodyPr>
          <a:lstStyle>
            <a:lvl1pPr marL="171430" indent="-171430">
              <a:lnSpc>
                <a:spcPct val="150000"/>
              </a:lnSpc>
              <a:buFont typeface="Arial"/>
              <a:buChar char="•"/>
              <a:defRPr sz="1200"/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0740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– Link Mo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478943"/>
            <a:ext cx="8243282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530514"/>
            <a:ext cx="4973638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6938863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97203"/>
            <a:ext cx="9144000" cy="85725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Click to edi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810911"/>
            <a:ext cx="9143999" cy="276989"/>
          </a:xfrm>
        </p:spPr>
        <p:txBody>
          <a:bodyPr wrap="square">
            <a:spAutoFit/>
          </a:bodyPr>
          <a:lstStyle>
            <a:lvl1pPr marL="0" indent="0" algn="ctr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Tx/>
              <a:buNone/>
              <a:defRPr sz="1200" baseline="0">
                <a:solidFill>
                  <a:schemeClr val="bg1">
                    <a:lumMod val="95000"/>
                  </a:schemeClr>
                </a:solidFill>
              </a:defRPr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519046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 -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445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636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1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84884"/>
            <a:ext cx="8229600" cy="857250"/>
          </a:xfrm>
        </p:spPr>
        <p:txBody>
          <a:bodyPr/>
          <a:lstStyle>
            <a:lvl1pPr algn="ctr">
              <a:defRPr/>
            </a:lvl1pPr>
          </a:lstStyle>
          <a:p>
            <a:r>
              <a:rPr lang="nb-NO"/>
              <a:t>Text in he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84282" y="3214909"/>
            <a:ext cx="1780432" cy="430877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200" b="1" baseline="0">
                <a:solidFill>
                  <a:srgbClr val="00C6E8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</a:p>
          <a:p>
            <a:pPr lvl="0"/>
            <a:r>
              <a:rPr lang="nb-NO"/>
              <a:t>alt text in her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884282" y="3713508"/>
            <a:ext cx="1780432" cy="910496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100" b="0" baseline="0">
                <a:solidFill>
                  <a:srgbClr val="00C6E8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 1</a:t>
            </a:r>
          </a:p>
          <a:p>
            <a:pPr lvl="0"/>
            <a:r>
              <a:rPr lang="nb-NO"/>
              <a:t>Insert text here 2</a:t>
            </a:r>
          </a:p>
          <a:p>
            <a:pPr lvl="0"/>
            <a:r>
              <a:rPr lang="nb-NO"/>
              <a:t>Insert text here 3</a:t>
            </a:r>
          </a:p>
          <a:p>
            <a:pPr lvl="0"/>
            <a:r>
              <a:rPr lang="nb-NO"/>
              <a:t>Insert text here 4</a:t>
            </a:r>
          </a:p>
          <a:p>
            <a:pPr lvl="0"/>
            <a:r>
              <a:rPr lang="nb-NO"/>
              <a:t>Insert text here 5</a:t>
            </a:r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771801" y="3214909"/>
            <a:ext cx="1780432" cy="430877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200" b="1" baseline="0">
                <a:solidFill>
                  <a:srgbClr val="5C5D5D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</a:p>
          <a:p>
            <a:pPr lvl="0"/>
            <a:r>
              <a:rPr lang="nb-NO"/>
              <a:t>alt text in her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771801" y="3713508"/>
            <a:ext cx="1780432" cy="910496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100" b="0" baseline="0">
                <a:solidFill>
                  <a:srgbClr val="5C5D5D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 1</a:t>
            </a:r>
          </a:p>
          <a:p>
            <a:pPr lvl="0"/>
            <a:r>
              <a:rPr lang="nb-NO"/>
              <a:t>Insert text here 2</a:t>
            </a:r>
          </a:p>
          <a:p>
            <a:pPr lvl="0"/>
            <a:r>
              <a:rPr lang="nb-NO"/>
              <a:t>Insert text here 3</a:t>
            </a:r>
          </a:p>
          <a:p>
            <a:pPr lvl="0"/>
            <a:r>
              <a:rPr lang="nb-NO"/>
              <a:t>Insert text here 4</a:t>
            </a:r>
          </a:p>
          <a:p>
            <a:pPr lvl="0"/>
            <a:r>
              <a:rPr lang="nb-NO"/>
              <a:t>Insert text here 5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644009" y="3214909"/>
            <a:ext cx="1780432" cy="430877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200" b="1" baseline="0">
                <a:solidFill>
                  <a:srgbClr val="E32C26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</a:p>
          <a:p>
            <a:pPr lvl="0"/>
            <a:r>
              <a:rPr lang="nb-NO"/>
              <a:t>alt text in her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644009" y="3713508"/>
            <a:ext cx="1780432" cy="910496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100" b="0" baseline="0">
                <a:solidFill>
                  <a:srgbClr val="E32C26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 1</a:t>
            </a:r>
          </a:p>
          <a:p>
            <a:pPr lvl="0"/>
            <a:r>
              <a:rPr lang="nb-NO"/>
              <a:t>Insert text here 2</a:t>
            </a:r>
          </a:p>
          <a:p>
            <a:pPr lvl="0"/>
            <a:r>
              <a:rPr lang="nb-NO"/>
              <a:t>Insert text here 3</a:t>
            </a:r>
          </a:p>
          <a:p>
            <a:pPr lvl="0"/>
            <a:r>
              <a:rPr lang="nb-NO"/>
              <a:t>Insert text here 4</a:t>
            </a:r>
          </a:p>
          <a:p>
            <a:pPr lvl="0"/>
            <a:r>
              <a:rPr lang="nb-NO"/>
              <a:t>Insert text here 5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516216" y="3214909"/>
            <a:ext cx="1780432" cy="430877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200" b="1" baseline="0">
                <a:solidFill>
                  <a:srgbClr val="E96F24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</a:t>
            </a:r>
          </a:p>
          <a:p>
            <a:pPr lvl="0"/>
            <a:r>
              <a:rPr lang="nb-NO"/>
              <a:t>alt text in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516216" y="3713508"/>
            <a:ext cx="1780432" cy="910496"/>
          </a:xfrm>
        </p:spPr>
        <p:txBody>
          <a:bodyPr wrap="square"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1100" b="0" baseline="0">
                <a:solidFill>
                  <a:srgbClr val="E96F24"/>
                </a:solidFill>
              </a:defRPr>
            </a:lvl1pPr>
            <a:lvl2pPr marL="457148" indent="0">
              <a:buFontTx/>
              <a:buNone/>
              <a:defRPr sz="14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nb-NO"/>
              <a:t>Insert text here 1</a:t>
            </a:r>
          </a:p>
          <a:p>
            <a:pPr lvl="0"/>
            <a:r>
              <a:rPr lang="nb-NO"/>
              <a:t>Insert text here 2</a:t>
            </a:r>
          </a:p>
          <a:p>
            <a:pPr lvl="0"/>
            <a:r>
              <a:rPr lang="nb-NO"/>
              <a:t>Insert text here 3</a:t>
            </a:r>
          </a:p>
          <a:p>
            <a:pPr lvl="0"/>
            <a:r>
              <a:rPr lang="nb-NO"/>
              <a:t>Insert text here 4</a:t>
            </a:r>
          </a:p>
          <a:p>
            <a:pPr lvl="0"/>
            <a:r>
              <a:rPr lang="nb-NO"/>
              <a:t>Insert text here 5</a:t>
            </a:r>
          </a:p>
        </p:txBody>
      </p:sp>
    </p:spTree>
    <p:extLst>
      <p:ext uri="{BB962C8B-B14F-4D97-AF65-F5344CB8AC3E}">
        <p14:creationId xmlns:p14="http://schemas.microsoft.com/office/powerpoint/2010/main" val="15825232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2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84884"/>
            <a:ext cx="8229600" cy="857250"/>
          </a:xfrm>
        </p:spPr>
        <p:txBody>
          <a:bodyPr/>
          <a:lstStyle>
            <a:lvl1pPr algn="ctr">
              <a:defRPr/>
            </a:lvl1pPr>
          </a:lstStyle>
          <a:p>
            <a:r>
              <a:rPr lang="nb-NO"/>
              <a:t>Text in he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194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que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4955312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  <p:pic>
        <p:nvPicPr>
          <p:cNvPr id="8" name="Picture 7" descr="iphone-hand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132" y="640897"/>
            <a:ext cx="51435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782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gration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485" y="478943"/>
            <a:ext cx="4271224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39886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331992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lub  – Link Mobility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78943"/>
            <a:ext cx="6320310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30514"/>
            <a:ext cx="3762423" cy="276989"/>
          </a:xfrm>
        </p:spPr>
        <p:txBody>
          <a:bodyPr wrap="square">
            <a:spAutoFit/>
          </a:bodyPr>
          <a:lstStyle>
            <a:lvl1pPr marL="171430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 baseline="0"/>
            </a:lvl1pPr>
            <a:lvl2pPr marL="628578" indent="-171430">
              <a:lnSpc>
                <a:spcPct val="100000"/>
              </a:lnSpc>
              <a:spcBef>
                <a:spcPts val="50"/>
              </a:spcBef>
              <a:spcAft>
                <a:spcPts val="800"/>
              </a:spcAft>
              <a:buFont typeface="Arial"/>
              <a:buChar char="•"/>
              <a:defRPr sz="1200"/>
            </a:lvl2pPr>
            <a:lvl3pPr marL="914296" indent="0">
              <a:buFontTx/>
              <a:buNone/>
              <a:defRPr sz="1400"/>
            </a:lvl3pPr>
            <a:lvl4pPr marL="1371444" indent="0">
              <a:buFontTx/>
              <a:buNone/>
              <a:defRPr sz="1400"/>
            </a:lvl4pPr>
            <a:lvl5pPr marL="1828592" indent="0">
              <a:buFontTx/>
              <a:buNone/>
              <a:defRPr sz="1400"/>
            </a:lvl5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254830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23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84877"/>
            <a:ext cx="8229600" cy="857250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8264" y="21801"/>
            <a:ext cx="2133600" cy="273844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F83643F-3BE7-2146-98A1-7FD9E9509A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47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79" r:id="rId3"/>
    <p:sldLayoutId id="2147483680" r:id="rId4"/>
    <p:sldLayoutId id="2147483662" r:id="rId5"/>
    <p:sldLayoutId id="2147483663" r:id="rId6"/>
    <p:sldLayoutId id="2147483661" r:id="rId7"/>
    <p:sldLayoutId id="2147483678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5" r:id="rId18"/>
    <p:sldLayoutId id="2147483676" r:id="rId19"/>
    <p:sldLayoutId id="2147483655" r:id="rId20"/>
    <p:sldLayoutId id="2147483677" r:id="rId2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ctr" defTabSz="457148" rtl="0" eaLnBrk="1" latinLnBrk="0" hangingPunct="1">
        <a:spcBef>
          <a:spcPct val="0"/>
        </a:spcBef>
        <a:buNone/>
        <a:defRPr sz="3600" kern="1200">
          <a:solidFill>
            <a:srgbClr val="00C6E8"/>
          </a:solidFill>
          <a:latin typeface="Arial"/>
          <a:ea typeface="+mj-ea"/>
          <a:cs typeface="Arial"/>
        </a:defRPr>
      </a:lvl1pPr>
    </p:titleStyle>
    <p:bodyStyle>
      <a:lvl1pPr marL="342861" indent="-342861" algn="l" defTabSz="457148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5C5C5C"/>
          </a:solidFill>
          <a:latin typeface="Arial"/>
          <a:ea typeface="+mn-ea"/>
          <a:cs typeface="Arial"/>
        </a:defRPr>
      </a:lvl1pPr>
      <a:lvl2pPr marL="742865" indent="-285717" algn="l" defTabSz="457148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5C5C5C"/>
          </a:solidFill>
          <a:latin typeface="Arial"/>
          <a:ea typeface="+mn-ea"/>
          <a:cs typeface="Arial"/>
        </a:defRPr>
      </a:lvl2pPr>
      <a:lvl3pPr marL="1142870" indent="-228574" algn="l" defTabSz="457148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5C5C5C"/>
          </a:solidFill>
          <a:latin typeface="Arial"/>
          <a:ea typeface="+mn-ea"/>
          <a:cs typeface="Arial"/>
        </a:defRPr>
      </a:lvl3pPr>
      <a:lvl4pPr marL="1600018" indent="-228574" algn="l" defTabSz="457148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5C5C5C"/>
          </a:solidFill>
          <a:latin typeface="Arial"/>
          <a:ea typeface="+mn-ea"/>
          <a:cs typeface="Arial"/>
        </a:defRPr>
      </a:lvl4pPr>
      <a:lvl5pPr marL="2057166" indent="-228574" algn="l" defTabSz="457148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5C5C5C"/>
          </a:solidFill>
          <a:latin typeface="Arial"/>
          <a:ea typeface="+mn-ea"/>
          <a:cs typeface="Arial"/>
        </a:defRPr>
      </a:lvl5pPr>
      <a:lvl6pPr marL="2514314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jpeg"/><Relationship Id="rId12" Type="http://schemas.openxmlformats.org/officeDocument/2006/relationships/image" Target="../media/image25.png"/><Relationship Id="rId13" Type="http://schemas.openxmlformats.org/officeDocument/2006/relationships/image" Target="../media/image26.png"/><Relationship Id="rId14" Type="http://schemas.openxmlformats.org/officeDocument/2006/relationships/image" Target="../media/image27.png"/><Relationship Id="rId15" Type="http://schemas.openxmlformats.org/officeDocument/2006/relationships/image" Target="../media/image28.png"/><Relationship Id="rId16" Type="http://schemas.openxmlformats.org/officeDocument/2006/relationships/image" Target="../media/image29.png"/><Relationship Id="rId17" Type="http://schemas.openxmlformats.org/officeDocument/2006/relationships/image" Target="../media/image3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slideLayout" Target="../slideLayouts/slideLayout20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9.emf"/><Relationship Id="rId7" Type="http://schemas.openxmlformats.org/officeDocument/2006/relationships/image" Target="../media/image20.png"/><Relationship Id="rId8" Type="http://schemas.openxmlformats.org/officeDocument/2006/relationships/image" Target="../media/image21.jpeg"/><Relationship Id="rId9" Type="http://schemas.openxmlformats.org/officeDocument/2006/relationships/image" Target="../media/image22.tiff"/><Relationship Id="rId10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2.emf"/><Relationship Id="rId6" Type="http://schemas.openxmlformats.org/officeDocument/2006/relationships/image" Target="../media/image33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tiff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diagramData" Target="../diagrams/data1.xml"/><Relationship Id="rId6" Type="http://schemas.openxmlformats.org/officeDocument/2006/relationships/diagramLayout" Target="../diagrams/layout1.xml"/><Relationship Id="rId7" Type="http://schemas.openxmlformats.org/officeDocument/2006/relationships/diagramQuickStyle" Target="../diagrams/quickStyle1.xml"/><Relationship Id="rId8" Type="http://schemas.openxmlformats.org/officeDocument/2006/relationships/diagramColors" Target="../diagrams/colors1.xml"/><Relationship Id="rId9" Type="http://schemas.microsoft.com/office/2007/relationships/diagramDrawing" Target="../diagrams/drawing1.xml"/><Relationship Id="rId10" Type="http://schemas.openxmlformats.org/officeDocument/2006/relationships/image" Target="../media/image39.png"/><Relationship Id="rId11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7907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403604"/>
            <a:ext cx="8229600" cy="857250"/>
          </a:xfrm>
        </p:spPr>
        <p:txBody>
          <a:bodyPr/>
          <a:lstStyle/>
          <a:p>
            <a:r>
              <a:rPr lang="en-US" dirty="0" smtClean="0"/>
              <a:t>LINK </a:t>
            </a:r>
            <a:r>
              <a:rPr lang="en-US" dirty="0" smtClean="0"/>
              <a:t>MOBILITY</a:t>
            </a:r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57200" y="1144688"/>
            <a:ext cx="4981787" cy="1015653"/>
          </a:xfrm>
          <a:prstGeom prst="rect">
            <a:avLst/>
          </a:prstGeom>
        </p:spPr>
        <p:txBody>
          <a:bodyPr vert="horz" wrap="square" lIns="91430" tIns="45715" rIns="91430" bIns="45715" rtlCol="0">
            <a:spAutoFit/>
          </a:bodyPr>
          <a:lstStyle>
            <a:lvl1pPr marL="0" indent="0" algn="l" defTabSz="457148" rtl="0" eaLnBrk="1" latinLnBrk="0" hangingPunct="1">
              <a:spcBef>
                <a:spcPct val="20000"/>
              </a:spcBef>
              <a:buFontTx/>
              <a:buNone/>
              <a:defRPr sz="1200" kern="1200" baseline="0">
                <a:solidFill>
                  <a:srgbClr val="00C6E8"/>
                </a:solidFill>
                <a:latin typeface="Arial"/>
                <a:ea typeface="+mn-ea"/>
                <a:cs typeface="Arial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3pPr>
            <a:lvl4pPr marL="1371444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INK Mobility </a:t>
            </a:r>
            <a:r>
              <a:rPr lang="en-US" dirty="0" err="1" smtClean="0"/>
              <a:t>er</a:t>
            </a:r>
            <a:r>
              <a:rPr lang="en-US" dirty="0" smtClean="0"/>
              <a:t> den </a:t>
            </a:r>
            <a:r>
              <a:rPr lang="en-US" dirty="0" err="1" smtClean="0"/>
              <a:t>største</a:t>
            </a:r>
            <a:r>
              <a:rPr lang="en-US" dirty="0" smtClean="0"/>
              <a:t> </a:t>
            </a:r>
            <a:r>
              <a:rPr lang="en-US" dirty="0" err="1" smtClean="0"/>
              <a:t>tilbyderen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/>
              <a:t> </a:t>
            </a:r>
            <a:r>
              <a:rPr lang="en-US" dirty="0" err="1" smtClean="0"/>
              <a:t>verdiøkende</a:t>
            </a:r>
            <a:r>
              <a:rPr lang="en-US" dirty="0" smtClean="0"/>
              <a:t> mobile </a:t>
            </a:r>
            <a:r>
              <a:rPr lang="en-US" dirty="0" err="1" smtClean="0"/>
              <a:t>tjenester</a:t>
            </a:r>
            <a:r>
              <a:rPr lang="en-US" dirty="0" smtClean="0"/>
              <a:t> i </a:t>
            </a:r>
            <a:r>
              <a:rPr lang="en-US" dirty="0" err="1" smtClean="0"/>
              <a:t>det</a:t>
            </a:r>
            <a:r>
              <a:rPr lang="en-US" dirty="0" smtClean="0"/>
              <a:t> </a:t>
            </a:r>
            <a:r>
              <a:rPr lang="en-US" dirty="0" err="1"/>
              <a:t>n</a:t>
            </a:r>
            <a:r>
              <a:rPr lang="en-US" dirty="0" err="1" smtClean="0"/>
              <a:t>ordiske</a:t>
            </a:r>
            <a:r>
              <a:rPr lang="en-US" dirty="0" smtClean="0"/>
              <a:t> </a:t>
            </a:r>
            <a:r>
              <a:rPr lang="en-US" dirty="0" err="1" smtClean="0"/>
              <a:t>markedet</a:t>
            </a:r>
            <a:r>
              <a:rPr lang="en-US" dirty="0" smtClean="0"/>
              <a:t>. LINK Mobility </a:t>
            </a:r>
            <a:r>
              <a:rPr lang="en-US" dirty="0" err="1"/>
              <a:t>l</a:t>
            </a:r>
            <a:r>
              <a:rPr lang="en-US" dirty="0" err="1" smtClean="0"/>
              <a:t>everer</a:t>
            </a:r>
            <a:r>
              <a:rPr lang="en-US" dirty="0" smtClean="0"/>
              <a:t> </a:t>
            </a:r>
            <a:r>
              <a:rPr lang="en-US" dirty="0" err="1" smtClean="0"/>
              <a:t>komplette</a:t>
            </a:r>
            <a:r>
              <a:rPr lang="en-US" dirty="0" smtClean="0"/>
              <a:t> </a:t>
            </a:r>
            <a:r>
              <a:rPr lang="en-US" dirty="0" err="1" smtClean="0"/>
              <a:t>løsninger</a:t>
            </a:r>
            <a:r>
              <a:rPr lang="en-US" dirty="0" smtClean="0"/>
              <a:t> for </a:t>
            </a:r>
            <a:r>
              <a:rPr lang="en-US" dirty="0" err="1" smtClean="0"/>
              <a:t>mobil</a:t>
            </a:r>
            <a:r>
              <a:rPr lang="en-US" dirty="0" smtClean="0"/>
              <a:t> </a:t>
            </a:r>
            <a:r>
              <a:rPr lang="en-US" dirty="0" err="1" smtClean="0"/>
              <a:t>kommunikasjon</a:t>
            </a:r>
            <a:r>
              <a:rPr lang="en-US" dirty="0" smtClean="0"/>
              <a:t> for </a:t>
            </a:r>
            <a:r>
              <a:rPr lang="en-US" dirty="0" err="1" smtClean="0"/>
              <a:t>alle</a:t>
            </a:r>
            <a:r>
              <a:rPr lang="en-US" dirty="0" smtClean="0"/>
              <a:t> </a:t>
            </a:r>
            <a:r>
              <a:rPr lang="en-US" dirty="0" err="1" smtClean="0"/>
              <a:t>typer</a:t>
            </a:r>
            <a:r>
              <a:rPr lang="en-US" dirty="0" smtClean="0"/>
              <a:t> </a:t>
            </a:r>
            <a:r>
              <a:rPr lang="en-US" dirty="0" err="1" smtClean="0"/>
              <a:t>bedrifter</a:t>
            </a:r>
            <a:r>
              <a:rPr lang="en-US" dirty="0" smtClean="0"/>
              <a:t> </a:t>
            </a:r>
            <a:r>
              <a:rPr lang="en-US" dirty="0" err="1" smtClean="0"/>
              <a:t>innefor</a:t>
            </a:r>
            <a:r>
              <a:rPr lang="en-US" dirty="0" smtClean="0"/>
              <a:t> </a:t>
            </a:r>
            <a:r>
              <a:rPr lang="en-US" dirty="0" err="1" smtClean="0"/>
              <a:t>områder</a:t>
            </a:r>
            <a:r>
              <a:rPr lang="en-US" dirty="0" smtClean="0"/>
              <a:t> </a:t>
            </a:r>
            <a:r>
              <a:rPr lang="en-US" dirty="0" err="1" smtClean="0"/>
              <a:t>som</a:t>
            </a:r>
            <a:r>
              <a:rPr lang="en-US" dirty="0" smtClean="0"/>
              <a:t> SMS, </a:t>
            </a:r>
            <a:r>
              <a:rPr lang="en-US" dirty="0" err="1" smtClean="0"/>
              <a:t>betaling</a:t>
            </a:r>
            <a:r>
              <a:rPr lang="en-US" dirty="0" smtClean="0"/>
              <a:t>, </a:t>
            </a:r>
            <a:r>
              <a:rPr lang="en-US" dirty="0" err="1" smtClean="0"/>
              <a:t>dataverifisering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real time lookup mot </a:t>
            </a:r>
            <a:r>
              <a:rPr lang="en-US" dirty="0" err="1" smtClean="0"/>
              <a:t>våre</a:t>
            </a:r>
            <a:r>
              <a:rPr lang="en-US" dirty="0" smtClean="0"/>
              <a:t> </a:t>
            </a:r>
            <a:r>
              <a:rPr lang="en-US" dirty="0" err="1"/>
              <a:t>S</a:t>
            </a:r>
            <a:r>
              <a:rPr lang="en-US" dirty="0" err="1" smtClean="0"/>
              <a:t>kandinaviske</a:t>
            </a:r>
            <a:r>
              <a:rPr lang="en-US" dirty="0" smtClean="0"/>
              <a:t> database for </a:t>
            </a:r>
            <a:r>
              <a:rPr lang="en-US" dirty="0" err="1" smtClean="0"/>
              <a:t>konsument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bedriftsinformasjon</a:t>
            </a:r>
            <a:endParaRPr lang="nb-NO" dirty="0"/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457200" y="1854522"/>
            <a:ext cx="4581525" cy="2806912"/>
          </a:xfrm>
          <a:prstGeom prst="rect">
            <a:avLst/>
          </a:prstGeom>
        </p:spPr>
        <p:txBody>
          <a:bodyPr vert="horz" lIns="91430" tIns="45715" rIns="91430" bIns="45715" rtlCol="0">
            <a:spAutoFit/>
          </a:bodyPr>
          <a:lstStyle>
            <a:lvl1pPr marL="171430" indent="-171430" algn="l" defTabSz="457148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3pPr>
            <a:lvl4pPr marL="1371444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nb-NO" dirty="0" smtClean="0"/>
          </a:p>
          <a:p>
            <a:pPr marL="285750" indent="-285750"/>
            <a:r>
              <a:rPr lang="nb-NO" dirty="0" smtClean="0">
                <a:solidFill>
                  <a:srgbClr val="5C5D5D"/>
                </a:solidFill>
              </a:rPr>
              <a:t>En del av Link Mobility Group ASA</a:t>
            </a:r>
          </a:p>
          <a:p>
            <a:pPr marL="285750" indent="-285750"/>
            <a:r>
              <a:rPr lang="nb-NO" dirty="0" smtClean="0">
                <a:solidFill>
                  <a:srgbClr val="5C5D5D"/>
                </a:solidFill>
              </a:rPr>
              <a:t>20 års erfaring i mobilmarkedet</a:t>
            </a:r>
          </a:p>
          <a:p>
            <a:pPr marL="285750" indent="-285750"/>
            <a:r>
              <a:rPr lang="nb-NO" dirty="0" smtClean="0">
                <a:solidFill>
                  <a:srgbClr val="5C5D5D"/>
                </a:solidFill>
              </a:rPr>
              <a:t>Notert på Oslo Børs</a:t>
            </a:r>
          </a:p>
          <a:p>
            <a:pPr marL="285750" indent="-285750"/>
            <a:r>
              <a:rPr lang="nb-NO" dirty="0" smtClean="0">
                <a:solidFill>
                  <a:srgbClr val="5C5D5D"/>
                </a:solidFill>
              </a:rPr>
              <a:t>Mer en 100 dedikerte medarbeidere i Norge, Sverige, Danmark og Baltikum</a:t>
            </a:r>
          </a:p>
          <a:p>
            <a:pPr marL="285750" indent="-285750"/>
            <a:r>
              <a:rPr lang="nb-NO" dirty="0" smtClean="0">
                <a:solidFill>
                  <a:srgbClr val="5C5D5D"/>
                </a:solidFill>
              </a:rPr>
              <a:t>Over 6000 kunder i Norden og en omsetning på </a:t>
            </a:r>
            <a:r>
              <a:rPr lang="nb-NO" dirty="0" smtClean="0">
                <a:solidFill>
                  <a:srgbClr val="5C5D5D"/>
                </a:solidFill>
              </a:rPr>
              <a:t>386 </a:t>
            </a:r>
            <a:r>
              <a:rPr lang="nb-NO" dirty="0" smtClean="0">
                <a:solidFill>
                  <a:srgbClr val="5C5D5D"/>
                </a:solidFill>
              </a:rPr>
              <a:t>millioner i </a:t>
            </a:r>
            <a:r>
              <a:rPr lang="nb-NO" dirty="0" smtClean="0">
                <a:solidFill>
                  <a:srgbClr val="5C5D5D"/>
                </a:solidFill>
              </a:rPr>
              <a:t>2015</a:t>
            </a:r>
            <a:endParaRPr lang="nb-NO" dirty="0" smtClean="0">
              <a:solidFill>
                <a:srgbClr val="5C5D5D"/>
              </a:solidFill>
            </a:endParaRPr>
          </a:p>
          <a:p>
            <a:pPr marL="0" indent="0">
              <a:buFont typeface="Arial"/>
              <a:buNone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48264" y="21801"/>
            <a:ext cx="2133600" cy="273844"/>
          </a:xfrm>
        </p:spPr>
        <p:txBody>
          <a:bodyPr/>
          <a:lstStyle/>
          <a:p>
            <a:fld id="{0F83643F-3BE7-2146-98A1-7FD9E9509AE9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3051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K Mobility </a:t>
            </a:r>
            <a:r>
              <a:rPr lang="en-US" dirty="0" err="1" smtClean="0"/>
              <a:t>produktområd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84282" y="3214909"/>
            <a:ext cx="1780432" cy="246211"/>
          </a:xfrm>
        </p:spPr>
        <p:txBody>
          <a:bodyPr/>
          <a:lstStyle/>
          <a:p>
            <a:r>
              <a:rPr lang="en-US"/>
              <a:t>COMMUNIC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771801" y="3214909"/>
            <a:ext cx="1780432" cy="246211"/>
          </a:xfrm>
        </p:spPr>
        <p:txBody>
          <a:bodyPr/>
          <a:lstStyle/>
          <a:p>
            <a:r>
              <a:rPr lang="en-US"/>
              <a:t>PAY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44009" y="3214909"/>
            <a:ext cx="1780432" cy="246211"/>
          </a:xfrm>
        </p:spPr>
        <p:txBody>
          <a:bodyPr/>
          <a:lstStyle/>
          <a:p>
            <a:r>
              <a:rPr lang="en-US"/>
              <a:t>STRATEG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6516216" y="3214909"/>
            <a:ext cx="1780432" cy="246211"/>
          </a:xfrm>
        </p:spPr>
        <p:txBody>
          <a:bodyPr/>
          <a:lstStyle/>
          <a:p>
            <a:r>
              <a:rPr lang="en-US" dirty="0"/>
              <a:t>BIG DATA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t>3</a:t>
            </a:fld>
            <a:endParaRPr lang="en-US"/>
          </a:p>
        </p:txBody>
      </p:sp>
      <p:sp>
        <p:nvSpPr>
          <p:cNvPr id="16" name="Text Placeholder 4"/>
          <p:cNvSpPr txBox="1">
            <a:spLocks/>
          </p:cNvSpPr>
          <p:nvPr/>
        </p:nvSpPr>
        <p:spPr>
          <a:xfrm>
            <a:off x="884282" y="3713507"/>
            <a:ext cx="1780432" cy="735576"/>
          </a:xfrm>
          <a:prstGeom prst="rect">
            <a:avLst/>
          </a:prstGeom>
        </p:spPr>
        <p:txBody>
          <a:bodyPr vert="horz" wrap="square" lIns="91430" tIns="45715" rIns="91430" bIns="45715" rtlCol="0">
            <a:spAutoFit/>
          </a:bodyPr>
          <a:lstStyle>
            <a:lvl1pPr marL="0" indent="0" algn="ctr" defTabSz="457148" rtl="0" eaLnBrk="1" latinLnBrk="0" hangingPunct="1">
              <a:lnSpc>
                <a:spcPct val="80000"/>
              </a:lnSpc>
              <a:spcBef>
                <a:spcPct val="20000"/>
              </a:spcBef>
              <a:buFontTx/>
              <a:buNone/>
              <a:defRPr sz="1100" b="0" kern="1200" baseline="0">
                <a:solidFill>
                  <a:srgbClr val="00C6E8"/>
                </a:solidFill>
                <a:latin typeface="Arial"/>
                <a:ea typeface="+mn-ea"/>
                <a:cs typeface="Arial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3pPr>
            <a:lvl4pPr marL="1371444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MS dialog </a:t>
            </a:r>
            <a:r>
              <a:rPr lang="en-US" dirty="0" err="1" smtClean="0"/>
              <a:t>og</a:t>
            </a:r>
            <a:r>
              <a:rPr lang="en-US" dirty="0" smtClean="0"/>
              <a:t> marketing</a:t>
            </a:r>
          </a:p>
          <a:p>
            <a:r>
              <a:rPr lang="en-US" dirty="0" err="1" smtClean="0"/>
              <a:t>Kupong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rabattkoder</a:t>
            </a:r>
            <a:endParaRPr lang="en-US" dirty="0" smtClean="0"/>
          </a:p>
          <a:p>
            <a:r>
              <a:rPr lang="en-US" dirty="0" smtClean="0"/>
              <a:t>CRM </a:t>
            </a:r>
            <a:r>
              <a:rPr lang="en-US" dirty="0" err="1" smtClean="0"/>
              <a:t>integrasjoner</a:t>
            </a:r>
            <a:endParaRPr lang="en-US" dirty="0" smtClean="0"/>
          </a:p>
          <a:p>
            <a:r>
              <a:rPr lang="en-US" dirty="0" err="1" smtClean="0"/>
              <a:t>Varslinge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remindere</a:t>
            </a:r>
            <a:endParaRPr lang="en-US" dirty="0"/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2771801" y="3719382"/>
            <a:ext cx="1780432" cy="735576"/>
          </a:xfrm>
          <a:prstGeom prst="rect">
            <a:avLst/>
          </a:prstGeom>
        </p:spPr>
        <p:txBody>
          <a:bodyPr vert="horz" wrap="square" lIns="91430" tIns="45715" rIns="91430" bIns="45715" rtlCol="0">
            <a:spAutoFit/>
          </a:bodyPr>
          <a:lstStyle>
            <a:lvl1pPr marL="0" indent="0" algn="ctr" defTabSz="457148" rtl="0" eaLnBrk="1" latinLnBrk="0" hangingPunct="1">
              <a:lnSpc>
                <a:spcPct val="80000"/>
              </a:lnSpc>
              <a:spcBef>
                <a:spcPct val="20000"/>
              </a:spcBef>
              <a:buFontTx/>
              <a:buNone/>
              <a:defRPr sz="1100" b="0" kern="1200" baseline="0">
                <a:solidFill>
                  <a:srgbClr val="5C5D5D"/>
                </a:solidFill>
                <a:latin typeface="Arial"/>
                <a:ea typeface="+mn-ea"/>
                <a:cs typeface="Arial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3pPr>
            <a:lvl4pPr marL="1371444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Goods and services</a:t>
            </a:r>
          </a:p>
          <a:p>
            <a:r>
              <a:rPr lang="en-US" dirty="0" err="1" smtClean="0"/>
              <a:t>Digitalt</a:t>
            </a:r>
            <a:r>
              <a:rPr lang="en-US" dirty="0" smtClean="0"/>
              <a:t> </a:t>
            </a:r>
            <a:r>
              <a:rPr lang="en-US" dirty="0" err="1" smtClean="0"/>
              <a:t>innhold</a:t>
            </a:r>
            <a:endParaRPr lang="en-US" dirty="0" smtClean="0"/>
          </a:p>
          <a:p>
            <a:r>
              <a:rPr lang="en-US" dirty="0" err="1" smtClean="0"/>
              <a:t>Donasjoner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18" name="Text Placeholder 8"/>
          <p:cNvSpPr txBox="1">
            <a:spLocks/>
          </p:cNvSpPr>
          <p:nvPr/>
        </p:nvSpPr>
        <p:spPr>
          <a:xfrm>
            <a:off x="4644009" y="3713507"/>
            <a:ext cx="1780432" cy="904853"/>
          </a:xfrm>
          <a:prstGeom prst="rect">
            <a:avLst/>
          </a:prstGeom>
        </p:spPr>
        <p:txBody>
          <a:bodyPr vert="horz" wrap="square" lIns="91430" tIns="45715" rIns="91430" bIns="45715" rtlCol="0">
            <a:spAutoFit/>
          </a:bodyPr>
          <a:lstStyle>
            <a:lvl1pPr marL="0" indent="0" algn="ctr" defTabSz="457148" rtl="0" eaLnBrk="1" latinLnBrk="0" hangingPunct="1">
              <a:lnSpc>
                <a:spcPct val="80000"/>
              </a:lnSpc>
              <a:spcBef>
                <a:spcPct val="20000"/>
              </a:spcBef>
              <a:buFontTx/>
              <a:buNone/>
              <a:defRPr sz="1100" b="0" kern="1200" baseline="0">
                <a:solidFill>
                  <a:srgbClr val="E32C26"/>
                </a:solidFill>
                <a:latin typeface="Arial"/>
                <a:ea typeface="+mn-ea"/>
                <a:cs typeface="Arial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3pPr>
            <a:lvl4pPr marL="1371444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rgbClr val="5C5C5C"/>
                </a:solidFill>
                <a:latin typeface="Arial"/>
                <a:ea typeface="+mn-ea"/>
                <a:cs typeface="Arial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>
                <a:solidFill>
                  <a:srgbClr val="E96F24"/>
                </a:solidFill>
              </a:rPr>
              <a:t>Lojalitetsprogrammer</a:t>
            </a:r>
            <a:endParaRPr lang="en-US" dirty="0" smtClean="0">
              <a:solidFill>
                <a:srgbClr val="E96F24"/>
              </a:solidFill>
            </a:endParaRPr>
          </a:p>
          <a:p>
            <a:r>
              <a:rPr lang="en-US" dirty="0" smtClean="0">
                <a:solidFill>
                  <a:srgbClr val="E96F24"/>
                </a:solidFill>
              </a:rPr>
              <a:t>Lead Management</a:t>
            </a:r>
          </a:p>
          <a:p>
            <a:r>
              <a:rPr lang="en-US" dirty="0" err="1" smtClean="0">
                <a:solidFill>
                  <a:srgbClr val="E96F24"/>
                </a:solidFill>
              </a:rPr>
              <a:t>Kundeklubb</a:t>
            </a:r>
            <a:endParaRPr lang="en-US" dirty="0" smtClean="0">
              <a:solidFill>
                <a:srgbClr val="E96F24"/>
              </a:solidFill>
            </a:endParaRPr>
          </a:p>
          <a:p>
            <a:r>
              <a:rPr lang="en-US" dirty="0" smtClean="0">
                <a:solidFill>
                  <a:srgbClr val="E96F24"/>
                </a:solidFill>
              </a:rPr>
              <a:t>Easy Checkout</a:t>
            </a:r>
          </a:p>
          <a:p>
            <a:r>
              <a:rPr lang="en-US" dirty="0" err="1" smtClean="0">
                <a:solidFill>
                  <a:srgbClr val="E96F24"/>
                </a:solidFill>
              </a:rPr>
              <a:t>Omnichannel</a:t>
            </a:r>
            <a:endParaRPr lang="en-US" dirty="0">
              <a:solidFill>
                <a:srgbClr val="E96F24"/>
              </a:solidFill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516216" y="3713508"/>
            <a:ext cx="1780432" cy="803287"/>
          </a:xfrm>
        </p:spPr>
        <p:txBody>
          <a:bodyPr/>
          <a:lstStyle/>
          <a:p>
            <a:r>
              <a:rPr lang="en-US" dirty="0" err="1">
                <a:solidFill>
                  <a:srgbClr val="FF0000"/>
                </a:solidFill>
              </a:rPr>
              <a:t>R</a:t>
            </a:r>
            <a:r>
              <a:rPr lang="en-US" dirty="0" err="1" smtClean="0">
                <a:solidFill>
                  <a:srgbClr val="FF0000"/>
                </a:solidFill>
              </a:rPr>
              <a:t>ealtime</a:t>
            </a:r>
            <a:r>
              <a:rPr lang="en-US" dirty="0" smtClean="0">
                <a:solidFill>
                  <a:srgbClr val="FF0000"/>
                </a:solidFill>
              </a:rPr>
              <a:t> lookup </a:t>
            </a:r>
            <a:r>
              <a:rPr lang="en-US" dirty="0" err="1" smtClean="0">
                <a:solidFill>
                  <a:srgbClr val="FF0000"/>
                </a:solidFill>
              </a:rPr>
              <a:t>og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taverifisering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err="1" smtClean="0">
                <a:solidFill>
                  <a:srgbClr val="FF0000"/>
                </a:solidFill>
              </a:rPr>
              <a:t>Konsument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og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bedriftsdatabse</a:t>
            </a:r>
            <a:r>
              <a:rPr lang="en-US" dirty="0" smtClean="0">
                <a:solidFill>
                  <a:srgbClr val="FF0000"/>
                </a:solidFill>
              </a:rPr>
              <a:t> for </a:t>
            </a:r>
            <a:r>
              <a:rPr lang="en-US" dirty="0" err="1" smtClean="0">
                <a:solidFill>
                  <a:srgbClr val="FF0000"/>
                </a:solidFill>
              </a:rPr>
              <a:t>Skandinavia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3221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543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re</a:t>
            </a:r>
            <a:r>
              <a:rPr lang="en-GB" dirty="0" smtClean="0"/>
              <a:t> </a:t>
            </a:r>
            <a:r>
              <a:rPr lang="en-GB" dirty="0" err="1" smtClean="0"/>
              <a:t>har</a:t>
            </a:r>
            <a:r>
              <a:rPr lang="en-GB" dirty="0" smtClean="0"/>
              <a:t> </a:t>
            </a:r>
            <a:r>
              <a:rPr lang="en-GB" dirty="0" err="1" smtClean="0"/>
              <a:t>alle</a:t>
            </a:r>
            <a:r>
              <a:rPr lang="en-GB" dirty="0" smtClean="0"/>
              <a:t> </a:t>
            </a:r>
            <a:r>
              <a:rPr lang="en-GB" dirty="0" err="1" smtClean="0"/>
              <a:t>møtt</a:t>
            </a:r>
            <a:r>
              <a:rPr lang="en-GB" dirty="0" smtClean="0"/>
              <a:t> </a:t>
            </a:r>
            <a:r>
              <a:rPr lang="en-GB" dirty="0" err="1" smtClean="0"/>
              <a:t>oss</a:t>
            </a:r>
            <a:r>
              <a:rPr lang="en-GB" dirty="0" smtClean="0"/>
              <a:t> </a:t>
            </a:r>
            <a:r>
              <a:rPr lang="en-GB" dirty="0" err="1" smtClean="0"/>
              <a:t>før</a:t>
            </a:r>
            <a:r>
              <a:rPr lang="en-GB" dirty="0" smtClean="0"/>
              <a:t> </a:t>
            </a:r>
            <a:endParaRPr lang="en-GB" dirty="0"/>
          </a:p>
        </p:txBody>
      </p:sp>
      <p:grpSp>
        <p:nvGrpSpPr>
          <p:cNvPr id="27" name="Group 26"/>
          <p:cNvGrpSpPr/>
          <p:nvPr/>
        </p:nvGrpSpPr>
        <p:grpSpPr>
          <a:xfrm>
            <a:off x="2811360" y="1564628"/>
            <a:ext cx="1385946" cy="3174692"/>
            <a:chOff x="2967556" y="1564628"/>
            <a:chExt cx="1385946" cy="3174692"/>
          </a:xfrm>
        </p:grpSpPr>
        <p:grpSp>
          <p:nvGrpSpPr>
            <p:cNvPr id="19" name="Group 18"/>
            <p:cNvGrpSpPr/>
            <p:nvPr/>
          </p:nvGrpSpPr>
          <p:grpSpPr>
            <a:xfrm>
              <a:off x="2967556" y="2045762"/>
              <a:ext cx="1385946" cy="2693558"/>
              <a:chOff x="2769868" y="2038142"/>
              <a:chExt cx="1385946" cy="2693558"/>
            </a:xfrm>
          </p:grpSpPr>
          <p:pic>
            <p:nvPicPr>
              <p:cNvPr id="12" name="Bilde 8"/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69868" y="2038142"/>
                <a:ext cx="1385946" cy="2693558"/>
              </a:xfrm>
              <a:prstGeom prst="rect">
                <a:avLst/>
              </a:prstGeom>
            </p:spPr>
          </p:pic>
          <p:pic>
            <p:nvPicPr>
              <p:cNvPr id="13" name="Bilde 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73619" y="2514222"/>
                <a:ext cx="1179530" cy="1769294"/>
              </a:xfrm>
              <a:prstGeom prst="rect">
                <a:avLst/>
              </a:prstGeom>
            </p:spPr>
          </p:pic>
        </p:grpSp>
        <p:pic>
          <p:nvPicPr>
            <p:cNvPr id="25" name="Bilde 3"/>
            <p:cNvPicPr>
              <a:picLocks noChangeAspect="1"/>
            </p:cNvPicPr>
            <p:nvPr/>
          </p:nvPicPr>
          <p:blipFill>
            <a:blip r:embed="rId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29391" y="1564628"/>
              <a:ext cx="1062277" cy="279881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4946693" y="2045762"/>
            <a:ext cx="1385946" cy="2693558"/>
            <a:chOff x="4572000" y="2038142"/>
            <a:chExt cx="1385946" cy="2693558"/>
          </a:xfrm>
        </p:grpSpPr>
        <p:pic>
          <p:nvPicPr>
            <p:cNvPr id="15" name="Bilde 8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2000" y="2038142"/>
              <a:ext cx="1385946" cy="2693558"/>
            </a:xfrm>
            <a:prstGeom prst="rect">
              <a:avLst/>
            </a:prstGeom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86496" y="4109156"/>
              <a:ext cx="1179530" cy="169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/>
          <p:nvPr/>
        </p:nvGrpSpPr>
        <p:grpSpPr>
          <a:xfrm>
            <a:off x="676027" y="1565864"/>
            <a:ext cx="1385946" cy="3173456"/>
            <a:chOff x="720882" y="1565864"/>
            <a:chExt cx="1385946" cy="3173456"/>
          </a:xfrm>
        </p:grpSpPr>
        <p:grpSp>
          <p:nvGrpSpPr>
            <p:cNvPr id="18" name="Group 17"/>
            <p:cNvGrpSpPr/>
            <p:nvPr/>
          </p:nvGrpSpPr>
          <p:grpSpPr>
            <a:xfrm>
              <a:off x="720882" y="2045762"/>
              <a:ext cx="1385946" cy="2693558"/>
              <a:chOff x="601941" y="2038142"/>
              <a:chExt cx="1385946" cy="2693558"/>
            </a:xfrm>
          </p:grpSpPr>
          <p:pic>
            <p:nvPicPr>
              <p:cNvPr id="14" name="Bilde 8"/>
              <p:cNvPicPr>
                <a:picLocks noChangeAspect="1"/>
              </p:cNvPicPr>
              <p:nvPr/>
            </p:nvPicPr>
            <p:blipFill>
              <a:blip r:embed="rId7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1941" y="2038142"/>
                <a:ext cx="1385946" cy="2693558"/>
              </a:xfrm>
              <a:prstGeom prst="rect">
                <a:avLst/>
              </a:prstGeom>
            </p:spPr>
          </p:pic>
          <p:pic>
            <p:nvPicPr>
              <p:cNvPr id="8" name="Bilde 3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06923" y="2514222"/>
                <a:ext cx="1175981" cy="1763973"/>
              </a:xfrm>
              <a:prstGeom prst="rect">
                <a:avLst/>
              </a:prstGeom>
            </p:spPr>
          </p:pic>
        </p:grpSp>
        <p:pic>
          <p:nvPicPr>
            <p:cNvPr id="2055" name="Picture 7" descr="https://upload.wikimedia.org/wikipedia/it/6/68/2000px-Norwegian_Air_Shuttle_logo.svg.pn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360" y="1565864"/>
              <a:ext cx="1320990" cy="2774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oup 29"/>
          <p:cNvGrpSpPr/>
          <p:nvPr/>
        </p:nvGrpSpPr>
        <p:grpSpPr>
          <a:xfrm>
            <a:off x="7082027" y="2045762"/>
            <a:ext cx="1385946" cy="2693558"/>
            <a:chOff x="4572000" y="2038142"/>
            <a:chExt cx="1385946" cy="2693558"/>
          </a:xfrm>
        </p:grpSpPr>
        <p:pic>
          <p:nvPicPr>
            <p:cNvPr id="31" name="Bilde 8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2000" y="2038142"/>
              <a:ext cx="1385946" cy="2693558"/>
            </a:xfrm>
            <a:prstGeom prst="rect">
              <a:avLst/>
            </a:prstGeom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86496" y="4109156"/>
              <a:ext cx="1179530" cy="169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067" name="4AAC9B02-31DE-4617-BB5E-D7A6417E9880" descr="667A681F-F706-4E25-9CD1-DF1F283B1998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52630" y="2504721"/>
            <a:ext cx="1188089" cy="1786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9" name="CDB3E9BD-0215-447A-B61E-2EC50C7C8100" descr="image001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96523" y="2505075"/>
            <a:ext cx="1188089" cy="178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96674" y="4134121"/>
            <a:ext cx="1191325" cy="170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1" name="Picture 23" descr="Logo til Røde Kors"/>
          <p:cNvPicPr>
            <a:picLocks noChangeAspect="1" noChangeArrowheads="1"/>
          </p:cNvPicPr>
          <p:nvPr/>
        </p:nvPicPr>
        <p:blipFill>
          <a:blip r:embed="rId16" cstate="screen">
            <a:lum bright="-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9428" y="1520304"/>
            <a:ext cx="1215184" cy="39787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2085" name="Picture 37" descr="http://www.amfi.no/globalassets/amfi-drift-no/amfi-felles/logoer/amfi-hovedlogo/amfi_slagord_under.pn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4092" y="1441477"/>
            <a:ext cx="1065163" cy="44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673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293076" cy="578700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pPr/>
              <a:t>5</a:t>
            </a:fld>
            <a:endParaRPr lang="en-US"/>
          </a:p>
        </p:txBody>
      </p:sp>
      <p:sp>
        <p:nvSpPr>
          <p:cNvPr id="2" name="Rektangel 1"/>
          <p:cNvSpPr/>
          <p:nvPr/>
        </p:nvSpPr>
        <p:spPr>
          <a:xfrm>
            <a:off x="290585" y="305469"/>
            <a:ext cx="87912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3600" dirty="0">
              <a:solidFill>
                <a:srgbClr val="00C6E8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3847" y="311132"/>
            <a:ext cx="7056462" cy="954107"/>
          </a:xfrm>
          <a:prstGeom prst="rect">
            <a:avLst/>
          </a:prstGeom>
          <a:solidFill>
            <a:srgbClr val="FFFFFF">
              <a:alpha val="64000"/>
            </a:srgbClr>
          </a:solidFill>
        </p:spPr>
        <p:txBody>
          <a:bodyPr wrap="square" rtlCol="0">
            <a:spAutoFit/>
          </a:bodyPr>
          <a:lstStyle/>
          <a:p>
            <a:pPr>
              <a:buClr>
                <a:srgbClr val="00BAF2"/>
              </a:buClr>
            </a:pPr>
            <a:endParaRPr lang="nb-NO" altLang="nb-NO" sz="2000" b="1" dirty="0">
              <a:solidFill>
                <a:srgbClr val="00BAF2"/>
              </a:solidFill>
              <a:latin typeface="Calibri Light" panose="020F0302020204030204" pitchFamily="34" charset="0"/>
            </a:endParaRPr>
          </a:p>
          <a:p>
            <a:pPr>
              <a:buClr>
                <a:srgbClr val="00BAF2"/>
              </a:buClr>
            </a:pPr>
            <a:r>
              <a:rPr lang="nb-NO" altLang="nb-NO" sz="3600" b="1" dirty="0" smtClean="0">
                <a:solidFill>
                  <a:srgbClr val="000000"/>
                </a:solidFill>
                <a:latin typeface="Arial"/>
                <a:cs typeface="Arial"/>
              </a:rPr>
              <a:t>På vei mot ”Mobile </a:t>
            </a:r>
            <a:r>
              <a:rPr lang="nb-NO" altLang="nb-NO" sz="3600" b="1" dirty="0" err="1" smtClean="0">
                <a:solidFill>
                  <a:srgbClr val="000000"/>
                </a:solidFill>
                <a:latin typeface="Arial"/>
                <a:cs typeface="Arial"/>
              </a:rPr>
              <a:t>Only</a:t>
            </a:r>
            <a:r>
              <a:rPr lang="nb-NO" altLang="nb-NO" sz="3600" b="1" dirty="0" smtClean="0">
                <a:solidFill>
                  <a:srgbClr val="000000"/>
                </a:solidFill>
                <a:latin typeface="Arial"/>
                <a:cs typeface="Arial"/>
              </a:rPr>
              <a:t>” </a:t>
            </a:r>
            <a:endParaRPr lang="nb-NO" altLang="nb-NO" sz="36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ktangel 3"/>
          <p:cNvSpPr>
            <a:spLocks noChangeArrowheads="1"/>
          </p:cNvSpPr>
          <p:nvPr/>
        </p:nvSpPr>
        <p:spPr bwMode="auto">
          <a:xfrm>
            <a:off x="493846" y="1267912"/>
            <a:ext cx="7056462" cy="3474797"/>
          </a:xfrm>
          <a:prstGeom prst="rect">
            <a:avLst/>
          </a:prstGeom>
          <a:solidFill>
            <a:schemeClr val="bg1">
              <a:alpha val="62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marL="342900" indent="-342900">
              <a:lnSpc>
                <a:spcPct val="130000"/>
              </a:lnSpc>
              <a:buClr>
                <a:schemeClr val="tx1"/>
              </a:buClr>
              <a:buFont typeface="Wingdings" charset="2"/>
              <a:buChar char="ü"/>
              <a:defRPr/>
            </a:pPr>
            <a:r>
              <a:rPr lang="nb-NO" dirty="0" smtClean="0">
                <a:latin typeface="Arial"/>
                <a:cs typeface="Arial"/>
              </a:rPr>
              <a:t>Go Mobile - #</a:t>
            </a:r>
            <a:r>
              <a:rPr lang="nb-NO" dirty="0" err="1" smtClean="0">
                <a:latin typeface="Arial"/>
                <a:cs typeface="Arial"/>
              </a:rPr>
              <a:t>adapt</a:t>
            </a:r>
            <a:r>
              <a:rPr lang="nb-NO" dirty="0" smtClean="0">
                <a:latin typeface="Arial"/>
                <a:cs typeface="Arial"/>
              </a:rPr>
              <a:t> or die </a:t>
            </a:r>
          </a:p>
          <a:p>
            <a:pPr marL="342900" indent="-342900">
              <a:lnSpc>
                <a:spcPct val="130000"/>
              </a:lnSpc>
              <a:buClr>
                <a:schemeClr val="tx1"/>
              </a:buClr>
              <a:buFont typeface="Wingdings" charset="2"/>
              <a:buChar char="ü"/>
              <a:defRPr/>
            </a:pPr>
            <a:r>
              <a:rPr lang="nb-NO" dirty="0" smtClean="0">
                <a:latin typeface="Arial"/>
                <a:cs typeface="Arial"/>
              </a:rPr>
              <a:t>900% prosent vekst på mobil fra 2010</a:t>
            </a:r>
          </a:p>
          <a:p>
            <a:pPr marL="342900" indent="-342900">
              <a:lnSpc>
                <a:spcPct val="130000"/>
              </a:lnSpc>
              <a:buClr>
                <a:schemeClr val="tx1"/>
              </a:buClr>
              <a:buFont typeface="Wingdings" charset="2"/>
              <a:buChar char="ü"/>
              <a:defRPr/>
            </a:pPr>
            <a:r>
              <a:rPr lang="nb-NO" dirty="0" smtClean="0">
                <a:latin typeface="Arial"/>
                <a:cs typeface="Arial"/>
              </a:rPr>
              <a:t>Kanaler som post, brev, fysiske kort kommer til å </a:t>
            </a:r>
            <a:r>
              <a:rPr lang="nb-NO" dirty="0" smtClean="0">
                <a:latin typeface="Arial"/>
                <a:cs typeface="Arial"/>
              </a:rPr>
              <a:t>forsvinne</a:t>
            </a:r>
          </a:p>
          <a:p>
            <a:pPr marL="342900" indent="-342900">
              <a:lnSpc>
                <a:spcPct val="130000"/>
              </a:lnSpc>
              <a:buClr>
                <a:schemeClr val="tx1"/>
              </a:buClr>
              <a:buFont typeface="Wingdings" charset="2"/>
              <a:buChar char="ü"/>
              <a:defRPr/>
            </a:pPr>
            <a:r>
              <a:rPr lang="nb-NO" dirty="0" smtClean="0">
                <a:latin typeface="Arial"/>
                <a:cs typeface="Arial"/>
              </a:rPr>
              <a:t>De </a:t>
            </a:r>
            <a:r>
              <a:rPr lang="nb-NO" dirty="0" smtClean="0">
                <a:latin typeface="Arial"/>
                <a:cs typeface="Arial"/>
              </a:rPr>
              <a:t>store massene vil kun forholde seg til offentligheten og kommersielle aktører via mobil </a:t>
            </a:r>
          </a:p>
          <a:p>
            <a:pPr marL="342900" indent="-342900">
              <a:lnSpc>
                <a:spcPct val="130000"/>
              </a:lnSpc>
              <a:buClr>
                <a:schemeClr val="tx1"/>
              </a:buClr>
              <a:buFont typeface="Wingdings" charset="2"/>
              <a:buChar char="ü"/>
              <a:defRPr/>
            </a:pPr>
            <a:r>
              <a:rPr lang="nb-NO" dirty="0" smtClean="0">
                <a:latin typeface="Arial"/>
                <a:cs typeface="Arial"/>
              </a:rPr>
              <a:t>Brukeren og teknologien ligger foran, bedriftenes adapsjon av teknologien henger bak. </a:t>
            </a:r>
          </a:p>
          <a:p>
            <a:pPr>
              <a:lnSpc>
                <a:spcPct val="150000"/>
              </a:lnSpc>
              <a:defRPr/>
            </a:pPr>
            <a:endParaRPr lang="nb-NO" sz="1600" dirty="0">
              <a:solidFill>
                <a:schemeClr val="bg2">
                  <a:lumMod val="50000"/>
                </a:schemeClr>
              </a:solidFill>
              <a:latin typeface="Gill Sans Light" charset="0"/>
              <a:cs typeface="Gill Sans Light" charset="0"/>
            </a:endParaRPr>
          </a:p>
          <a:p>
            <a:pPr>
              <a:defRPr/>
            </a:pPr>
            <a:endParaRPr lang="en-US" sz="1600" dirty="0">
              <a:solidFill>
                <a:schemeClr val="bg2"/>
              </a:solidFill>
              <a:latin typeface="Gill Sans Light" charset="0"/>
              <a:cs typeface="Gill Sans Light" charset="0"/>
            </a:endParaRPr>
          </a:p>
          <a:p>
            <a:pPr marL="342900" indent="-342900">
              <a:buFontTx/>
              <a:buAutoNum type="arabicPeriod"/>
              <a:defRPr/>
            </a:pPr>
            <a:endParaRPr lang="en-US" sz="1600" dirty="0">
              <a:solidFill>
                <a:schemeClr val="bg2"/>
              </a:solidFill>
              <a:latin typeface="Gill Sans Light" charset="0"/>
              <a:cs typeface="Gill Sans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9396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2408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339502"/>
            <a:ext cx="8243282" cy="857250"/>
          </a:xfrm>
        </p:spPr>
        <p:txBody>
          <a:bodyPr>
            <a:normAutofit/>
          </a:bodyPr>
          <a:lstStyle/>
          <a:p>
            <a:r>
              <a:rPr lang="nb-NO" dirty="0" smtClean="0"/>
              <a:t>Mobil er kjernen i alt vi gjør  </a:t>
            </a:r>
            <a:endParaRPr lang="nb-NO" dirty="0"/>
          </a:p>
        </p:txBody>
      </p:sp>
      <p:grpSp>
        <p:nvGrpSpPr>
          <p:cNvPr id="21" name="Group 20"/>
          <p:cNvGrpSpPr/>
          <p:nvPr/>
        </p:nvGrpSpPr>
        <p:grpSpPr>
          <a:xfrm>
            <a:off x="5102333" y="1437048"/>
            <a:ext cx="3395118" cy="3437265"/>
            <a:chOff x="3028765" y="1596652"/>
            <a:chExt cx="3086471" cy="3124787"/>
          </a:xfrm>
        </p:grpSpPr>
        <p:grpSp>
          <p:nvGrpSpPr>
            <p:cNvPr id="7" name="Group 6"/>
            <p:cNvGrpSpPr/>
            <p:nvPr/>
          </p:nvGrpSpPr>
          <p:grpSpPr>
            <a:xfrm>
              <a:off x="3028765" y="1596652"/>
              <a:ext cx="3086471" cy="3086471"/>
              <a:chOff x="1257233" y="1985821"/>
              <a:chExt cx="2805883" cy="2805883"/>
            </a:xfrm>
          </p:grpSpPr>
          <p:sp>
            <p:nvSpPr>
              <p:cNvPr id="15" name="Freeform 65"/>
              <p:cNvSpPr>
                <a:spLocks/>
              </p:cNvSpPr>
              <p:nvPr/>
            </p:nvSpPr>
            <p:spPr bwMode="gray">
              <a:xfrm>
                <a:off x="2692657" y="2270431"/>
                <a:ext cx="1088942" cy="1645788"/>
              </a:xfrm>
              <a:custGeom>
                <a:avLst/>
                <a:gdLst>
                  <a:gd name="T0" fmla="*/ 28 w 227"/>
                  <a:gd name="T1" fmla="*/ 173 h 344"/>
                  <a:gd name="T2" fmla="*/ 58 w 227"/>
                  <a:gd name="T3" fmla="*/ 262 h 344"/>
                  <a:gd name="T4" fmla="*/ 200 w 227"/>
                  <a:gd name="T5" fmla="*/ 344 h 344"/>
                  <a:gd name="T6" fmla="*/ 227 w 227"/>
                  <a:gd name="T7" fmla="*/ 234 h 344"/>
                  <a:gd name="T8" fmla="*/ 0 w 227"/>
                  <a:gd name="T9" fmla="*/ 0 h 344"/>
                  <a:gd name="T10" fmla="*/ 0 w 227"/>
                  <a:gd name="T11" fmla="*/ 164 h 344"/>
                  <a:gd name="T12" fmla="*/ 28 w 227"/>
                  <a:gd name="T13" fmla="*/ 17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7" h="344">
                    <a:moveTo>
                      <a:pt x="28" y="173"/>
                    </a:moveTo>
                    <a:cubicBezTo>
                      <a:pt x="60" y="191"/>
                      <a:pt x="72" y="230"/>
                      <a:pt x="58" y="262"/>
                    </a:cubicBezTo>
                    <a:cubicBezTo>
                      <a:pt x="200" y="344"/>
                      <a:pt x="200" y="344"/>
                      <a:pt x="200" y="344"/>
                    </a:cubicBezTo>
                    <a:cubicBezTo>
                      <a:pt x="217" y="311"/>
                      <a:pt x="227" y="274"/>
                      <a:pt x="227" y="234"/>
                    </a:cubicBezTo>
                    <a:cubicBezTo>
                      <a:pt x="227" y="107"/>
                      <a:pt x="126" y="4"/>
                      <a:pt x="0" y="0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10" y="165"/>
                      <a:pt x="20" y="168"/>
                      <a:pt x="28" y="173"/>
                    </a:cubicBezTo>
                    <a:close/>
                  </a:path>
                </a:pathLst>
              </a:custGeom>
              <a:solidFill>
                <a:srgbClr val="00C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66"/>
              <p:cNvSpPr>
                <a:spLocks/>
              </p:cNvSpPr>
              <p:nvPr/>
            </p:nvSpPr>
            <p:spPr bwMode="gray">
              <a:xfrm>
                <a:off x="1538749" y="2270431"/>
                <a:ext cx="1085849" cy="1645788"/>
              </a:xfrm>
              <a:custGeom>
                <a:avLst/>
                <a:gdLst>
                  <a:gd name="T0" fmla="*/ 173 w 227"/>
                  <a:gd name="T1" fmla="*/ 199 h 344"/>
                  <a:gd name="T2" fmla="*/ 227 w 227"/>
                  <a:gd name="T3" fmla="*/ 164 h 344"/>
                  <a:gd name="T4" fmla="*/ 227 w 227"/>
                  <a:gd name="T5" fmla="*/ 0 h 344"/>
                  <a:gd name="T6" fmla="*/ 0 w 227"/>
                  <a:gd name="T7" fmla="*/ 234 h 344"/>
                  <a:gd name="T8" fmla="*/ 28 w 227"/>
                  <a:gd name="T9" fmla="*/ 344 h 344"/>
                  <a:gd name="T10" fmla="*/ 170 w 227"/>
                  <a:gd name="T11" fmla="*/ 262 h 344"/>
                  <a:gd name="T12" fmla="*/ 173 w 227"/>
                  <a:gd name="T13" fmla="*/ 199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7" h="344">
                    <a:moveTo>
                      <a:pt x="173" y="199"/>
                    </a:moveTo>
                    <a:cubicBezTo>
                      <a:pt x="185" y="178"/>
                      <a:pt x="205" y="166"/>
                      <a:pt x="227" y="164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1"/>
                      <a:pt x="28" y="344"/>
                    </a:cubicBezTo>
                    <a:cubicBezTo>
                      <a:pt x="170" y="262"/>
                      <a:pt x="170" y="262"/>
                      <a:pt x="170" y="262"/>
                    </a:cubicBezTo>
                    <a:cubicBezTo>
                      <a:pt x="161" y="242"/>
                      <a:pt x="162" y="219"/>
                      <a:pt x="173" y="19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67"/>
              <p:cNvSpPr>
                <a:spLocks/>
              </p:cNvSpPr>
              <p:nvPr/>
            </p:nvSpPr>
            <p:spPr bwMode="gray">
              <a:xfrm>
                <a:off x="1705803" y="3585205"/>
                <a:ext cx="1908743" cy="921889"/>
              </a:xfrm>
              <a:custGeom>
                <a:avLst/>
                <a:gdLst>
                  <a:gd name="T0" fmla="*/ 164 w 398"/>
                  <a:gd name="T1" fmla="*/ 20 h 193"/>
                  <a:gd name="T2" fmla="*/ 142 w 398"/>
                  <a:gd name="T3" fmla="*/ 0 h 193"/>
                  <a:gd name="T4" fmla="*/ 0 w 398"/>
                  <a:gd name="T5" fmla="*/ 82 h 193"/>
                  <a:gd name="T6" fmla="*/ 199 w 398"/>
                  <a:gd name="T7" fmla="*/ 193 h 193"/>
                  <a:gd name="T8" fmla="*/ 398 w 398"/>
                  <a:gd name="T9" fmla="*/ 82 h 193"/>
                  <a:gd name="T10" fmla="*/ 256 w 398"/>
                  <a:gd name="T11" fmla="*/ 0 h 193"/>
                  <a:gd name="T12" fmla="*/ 164 w 398"/>
                  <a:gd name="T13" fmla="*/ 2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8" h="193">
                    <a:moveTo>
                      <a:pt x="164" y="20"/>
                    </a:moveTo>
                    <a:cubicBezTo>
                      <a:pt x="155" y="14"/>
                      <a:pt x="148" y="8"/>
                      <a:pt x="142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41" y="148"/>
                      <a:pt x="115" y="193"/>
                      <a:pt x="199" y="193"/>
                    </a:cubicBezTo>
                    <a:cubicBezTo>
                      <a:pt x="283" y="193"/>
                      <a:pt x="357" y="148"/>
                      <a:pt x="398" y="82"/>
                    </a:cubicBezTo>
                    <a:cubicBezTo>
                      <a:pt x="256" y="0"/>
                      <a:pt x="256" y="0"/>
                      <a:pt x="256" y="0"/>
                    </a:cubicBezTo>
                    <a:cubicBezTo>
                      <a:pt x="236" y="29"/>
                      <a:pt x="196" y="38"/>
                      <a:pt x="164" y="2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69"/>
              <p:cNvSpPr>
                <a:spLocks/>
              </p:cNvSpPr>
              <p:nvPr/>
            </p:nvSpPr>
            <p:spPr bwMode="gray">
              <a:xfrm>
                <a:off x="2701938" y="1985821"/>
                <a:ext cx="1361178" cy="2091265"/>
              </a:xfrm>
              <a:custGeom>
                <a:avLst/>
                <a:gdLst>
                  <a:gd name="T0" fmla="*/ 21 w 284"/>
                  <a:gd name="T1" fmla="*/ 23 h 437"/>
                  <a:gd name="T2" fmla="*/ 19 w 284"/>
                  <a:gd name="T3" fmla="*/ 25 h 437"/>
                  <a:gd name="T4" fmla="*/ 0 w 284"/>
                  <a:gd name="T5" fmla="*/ 46 h 437"/>
                  <a:gd name="T6" fmla="*/ 238 w 284"/>
                  <a:gd name="T7" fmla="*/ 293 h 437"/>
                  <a:gd name="T8" fmla="*/ 210 w 284"/>
                  <a:gd name="T9" fmla="*/ 408 h 437"/>
                  <a:gd name="T10" fmla="*/ 219 w 284"/>
                  <a:gd name="T11" fmla="*/ 437 h 437"/>
                  <a:gd name="T12" fmla="*/ 250 w 284"/>
                  <a:gd name="T13" fmla="*/ 431 h 437"/>
                  <a:gd name="T14" fmla="*/ 284 w 284"/>
                  <a:gd name="T15" fmla="*/ 293 h 437"/>
                  <a:gd name="T16" fmla="*/ 0 w 284"/>
                  <a:gd name="T17" fmla="*/ 0 h 437"/>
                  <a:gd name="T18" fmla="*/ 19 w 284"/>
                  <a:gd name="T19" fmla="*/ 21 h 437"/>
                  <a:gd name="T20" fmla="*/ 21 w 284"/>
                  <a:gd name="T21" fmla="*/ 23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4" h="437">
                    <a:moveTo>
                      <a:pt x="21" y="23"/>
                    </a:moveTo>
                    <a:cubicBezTo>
                      <a:pt x="19" y="25"/>
                      <a:pt x="19" y="25"/>
                      <a:pt x="19" y="25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132" y="51"/>
                      <a:pt x="238" y="159"/>
                      <a:pt x="238" y="293"/>
                    </a:cubicBezTo>
                    <a:cubicBezTo>
                      <a:pt x="238" y="334"/>
                      <a:pt x="228" y="374"/>
                      <a:pt x="210" y="40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50" y="431"/>
                      <a:pt x="250" y="431"/>
                      <a:pt x="250" y="431"/>
                    </a:cubicBezTo>
                    <a:cubicBezTo>
                      <a:pt x="272" y="390"/>
                      <a:pt x="284" y="343"/>
                      <a:pt x="284" y="293"/>
                    </a:cubicBezTo>
                    <a:cubicBezTo>
                      <a:pt x="284" y="134"/>
                      <a:pt x="158" y="5"/>
                      <a:pt x="0" y="0"/>
                    </a:cubicBezTo>
                    <a:cubicBezTo>
                      <a:pt x="19" y="21"/>
                      <a:pt x="19" y="21"/>
                      <a:pt x="19" y="21"/>
                    </a:cubicBezTo>
                    <a:lnTo>
                      <a:pt x="21" y="23"/>
                    </a:lnTo>
                    <a:close/>
                  </a:path>
                </a:pathLst>
              </a:custGeom>
              <a:solidFill>
                <a:srgbClr val="00C6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970F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70"/>
              <p:cNvSpPr>
                <a:spLocks/>
              </p:cNvSpPr>
              <p:nvPr/>
            </p:nvSpPr>
            <p:spPr bwMode="gray">
              <a:xfrm>
                <a:off x="1257233" y="1985821"/>
                <a:ext cx="1460173" cy="2063422"/>
              </a:xfrm>
              <a:custGeom>
                <a:avLst/>
                <a:gdLst>
                  <a:gd name="T0" fmla="*/ 45 w 305"/>
                  <a:gd name="T1" fmla="*/ 402 h 431"/>
                  <a:gd name="T2" fmla="*/ 47 w 305"/>
                  <a:gd name="T3" fmla="*/ 403 h 431"/>
                  <a:gd name="T4" fmla="*/ 75 w 305"/>
                  <a:gd name="T5" fmla="*/ 408 h 431"/>
                  <a:gd name="T6" fmla="*/ 46 w 305"/>
                  <a:gd name="T7" fmla="*/ 293 h 431"/>
                  <a:gd name="T8" fmla="*/ 285 w 305"/>
                  <a:gd name="T9" fmla="*/ 46 h 431"/>
                  <a:gd name="T10" fmla="*/ 305 w 305"/>
                  <a:gd name="T11" fmla="*/ 23 h 431"/>
                  <a:gd name="T12" fmla="*/ 285 w 305"/>
                  <a:gd name="T13" fmla="*/ 0 h 431"/>
                  <a:gd name="T14" fmla="*/ 0 w 305"/>
                  <a:gd name="T15" fmla="*/ 293 h 431"/>
                  <a:gd name="T16" fmla="*/ 35 w 305"/>
                  <a:gd name="T17" fmla="*/ 431 h 431"/>
                  <a:gd name="T18" fmla="*/ 44 w 305"/>
                  <a:gd name="T19" fmla="*/ 405 h 431"/>
                  <a:gd name="T20" fmla="*/ 45 w 305"/>
                  <a:gd name="T21" fmla="*/ 402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5" h="431">
                    <a:moveTo>
                      <a:pt x="45" y="402"/>
                    </a:moveTo>
                    <a:cubicBezTo>
                      <a:pt x="47" y="403"/>
                      <a:pt x="47" y="403"/>
                      <a:pt x="47" y="403"/>
                    </a:cubicBezTo>
                    <a:cubicBezTo>
                      <a:pt x="75" y="408"/>
                      <a:pt x="75" y="408"/>
                      <a:pt x="75" y="408"/>
                    </a:cubicBezTo>
                    <a:cubicBezTo>
                      <a:pt x="57" y="374"/>
                      <a:pt x="46" y="335"/>
                      <a:pt x="46" y="293"/>
                    </a:cubicBezTo>
                    <a:cubicBezTo>
                      <a:pt x="46" y="159"/>
                      <a:pt x="152" y="51"/>
                      <a:pt x="285" y="46"/>
                    </a:cubicBezTo>
                    <a:cubicBezTo>
                      <a:pt x="305" y="23"/>
                      <a:pt x="305" y="23"/>
                      <a:pt x="305" y="23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127" y="5"/>
                      <a:pt x="0" y="134"/>
                      <a:pt x="0" y="293"/>
                    </a:cubicBezTo>
                    <a:cubicBezTo>
                      <a:pt x="0" y="343"/>
                      <a:pt x="13" y="390"/>
                      <a:pt x="35" y="431"/>
                    </a:cubicBezTo>
                    <a:cubicBezTo>
                      <a:pt x="44" y="405"/>
                      <a:pt x="44" y="405"/>
                      <a:pt x="44" y="405"/>
                    </a:cubicBezTo>
                    <a:lnTo>
                      <a:pt x="45" y="402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71"/>
              <p:cNvSpPr>
                <a:spLocks/>
              </p:cNvSpPr>
              <p:nvPr/>
            </p:nvSpPr>
            <p:spPr bwMode="gray">
              <a:xfrm>
                <a:off x="1467597" y="3981184"/>
                <a:ext cx="2391342" cy="810520"/>
              </a:xfrm>
              <a:custGeom>
                <a:avLst/>
                <a:gdLst>
                  <a:gd name="T0" fmla="*/ 469 w 499"/>
                  <a:gd name="T1" fmla="*/ 35 h 169"/>
                  <a:gd name="T2" fmla="*/ 468 w 499"/>
                  <a:gd name="T3" fmla="*/ 33 h 169"/>
                  <a:gd name="T4" fmla="*/ 459 w 499"/>
                  <a:gd name="T5" fmla="*/ 6 h 169"/>
                  <a:gd name="T6" fmla="*/ 249 w 499"/>
                  <a:gd name="T7" fmla="*/ 123 h 169"/>
                  <a:gd name="T8" fmla="*/ 40 w 499"/>
                  <a:gd name="T9" fmla="*/ 6 h 169"/>
                  <a:gd name="T10" fmla="*/ 9 w 499"/>
                  <a:gd name="T11" fmla="*/ 0 h 169"/>
                  <a:gd name="T12" fmla="*/ 0 w 499"/>
                  <a:gd name="T13" fmla="*/ 29 h 169"/>
                  <a:gd name="T14" fmla="*/ 249 w 499"/>
                  <a:gd name="T15" fmla="*/ 169 h 169"/>
                  <a:gd name="T16" fmla="*/ 499 w 499"/>
                  <a:gd name="T17" fmla="*/ 29 h 169"/>
                  <a:gd name="T18" fmla="*/ 471 w 499"/>
                  <a:gd name="T19" fmla="*/ 35 h 169"/>
                  <a:gd name="T20" fmla="*/ 469 w 499"/>
                  <a:gd name="T21" fmla="*/ 35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9" h="169">
                    <a:moveTo>
                      <a:pt x="469" y="35"/>
                    </a:moveTo>
                    <a:cubicBezTo>
                      <a:pt x="468" y="33"/>
                      <a:pt x="468" y="33"/>
                      <a:pt x="468" y="33"/>
                    </a:cubicBezTo>
                    <a:cubicBezTo>
                      <a:pt x="459" y="6"/>
                      <a:pt x="459" y="6"/>
                      <a:pt x="459" y="6"/>
                    </a:cubicBezTo>
                    <a:cubicBezTo>
                      <a:pt x="415" y="76"/>
                      <a:pt x="338" y="123"/>
                      <a:pt x="249" y="123"/>
                    </a:cubicBezTo>
                    <a:cubicBezTo>
                      <a:pt x="161" y="123"/>
                      <a:pt x="83" y="76"/>
                      <a:pt x="40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51" y="113"/>
                      <a:pt x="144" y="169"/>
                      <a:pt x="249" y="169"/>
                    </a:cubicBezTo>
                    <a:cubicBezTo>
                      <a:pt x="355" y="169"/>
                      <a:pt x="447" y="113"/>
                      <a:pt x="499" y="29"/>
                    </a:cubicBezTo>
                    <a:cubicBezTo>
                      <a:pt x="471" y="35"/>
                      <a:pt x="471" y="35"/>
                      <a:pt x="471" y="35"/>
                    </a:cubicBezTo>
                    <a:lnTo>
                      <a:pt x="469" y="35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endParaRPr lang="en-GB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5630283" y="2260865"/>
              <a:ext cx="322596" cy="3052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208391" y="2260865"/>
              <a:ext cx="322596" cy="3052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414105" y="4416206"/>
              <a:ext cx="322596" cy="3052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608156" y="2309597"/>
              <a:ext cx="1157873" cy="381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GB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obile Messaging</a:t>
              </a:r>
              <a:endParaRPr lang="en-GB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57630" y="2309597"/>
              <a:ext cx="1157873" cy="3815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GB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obile Intelligence</a:t>
              </a:r>
              <a:endParaRPr lang="en-GB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933225" y="3807163"/>
              <a:ext cx="1273660" cy="2289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obile Solutions</a:t>
              </a:r>
              <a:endParaRPr lang="en-GB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" name="Picture 2" descr="http://mb.cision.com/Public/8551/logo/836f50e79c163361_org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5913" y="3020313"/>
              <a:ext cx="1615816" cy="246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0761" y="2342256"/>
            <a:ext cx="4442998" cy="2377564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600" dirty="0"/>
              <a:t>Mobile Messaging er fundamentet for virksomhet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600" dirty="0"/>
              <a:t>Mobil betaling og </a:t>
            </a:r>
            <a:r>
              <a:rPr lang="nb-NO" sz="1600" dirty="0" smtClean="0"/>
              <a:t>løsninger skaper </a:t>
            </a:r>
            <a:r>
              <a:rPr lang="nb-NO" sz="1600" dirty="0"/>
              <a:t>transaksjoner 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600" dirty="0"/>
              <a:t>Big data skapes fra innsamling og analyse  </a:t>
            </a:r>
            <a:r>
              <a:rPr lang="nb-NO" sz="1600" dirty="0" smtClean="0"/>
              <a:t>fra transaksjoner </a:t>
            </a:r>
            <a:endParaRPr lang="nb-NO" sz="1600" dirty="0"/>
          </a:p>
          <a:p>
            <a:pPr marL="228600" indent="-228600">
              <a:buFont typeface="+mj-lt"/>
              <a:buAutoNum type="arabicPeriod"/>
            </a:pPr>
            <a:endParaRPr lang="en-GB" sz="1600" dirty="0" smtClean="0"/>
          </a:p>
          <a:p>
            <a:pPr marL="228600" indent="-228600">
              <a:buFont typeface="+mj-lt"/>
              <a:buAutoNum type="arabicPeriod"/>
            </a:pPr>
            <a:endParaRPr lang="en-GB" sz="1600" dirty="0" smtClean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450850" y="1694895"/>
            <a:ext cx="3996000" cy="0"/>
          </a:xfrm>
          <a:prstGeom prst="line">
            <a:avLst/>
          </a:prstGeom>
          <a:ln w="190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514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tel 1"/>
          <p:cNvSpPr txBox="1">
            <a:spLocks/>
          </p:cNvSpPr>
          <p:nvPr/>
        </p:nvSpPr>
        <p:spPr>
          <a:xfrm>
            <a:off x="514846" y="369571"/>
            <a:ext cx="8143748" cy="459687"/>
          </a:xfrm>
          <a:prstGeom prst="rect">
            <a:avLst/>
          </a:prstGeom>
        </p:spPr>
        <p:txBody>
          <a:bodyPr/>
          <a:lstStyle>
            <a:lvl1pPr algn="ctr" defTabSz="457148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C6E8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nb-NO" i="1" dirty="0"/>
              <a:t>M2016 – </a:t>
            </a:r>
            <a:r>
              <a:rPr lang="nb-NO" dirty="0"/>
              <a:t>Fremtidens reisehverdag – </a:t>
            </a:r>
            <a:r>
              <a:rPr lang="nb-NO" dirty="0" smtClean="0"/>
              <a:t>krever smart  meldingsformidling</a:t>
            </a:r>
            <a:endParaRPr lang="nb-NO" dirty="0"/>
          </a:p>
          <a:p>
            <a:pPr>
              <a:defRPr/>
            </a:pPr>
            <a:endParaRPr lang="en-GB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152" y="1564044"/>
            <a:ext cx="2932747" cy="3579456"/>
          </a:xfrm>
          <a:prstGeom prst="rect">
            <a:avLst/>
          </a:prstGeom>
        </p:spPr>
      </p:pic>
      <p:sp>
        <p:nvSpPr>
          <p:cNvPr id="13" name="Vinkeltegn 12"/>
          <p:cNvSpPr/>
          <p:nvPr/>
        </p:nvSpPr>
        <p:spPr>
          <a:xfrm>
            <a:off x="4030182" y="2887268"/>
            <a:ext cx="650706" cy="379604"/>
          </a:xfrm>
          <a:prstGeom prst="chevron">
            <a:avLst/>
          </a:prstGeom>
          <a:solidFill>
            <a:srgbClr val="00C6E8"/>
          </a:solidFill>
          <a:effectLst>
            <a:outerShdw blurRad="76200" dir="13500000" sy="23000" kx="1200000" algn="br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0628" y="3160075"/>
            <a:ext cx="2572249" cy="1498750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16" name="Picture 9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0628" y="2156857"/>
            <a:ext cx="920213" cy="920213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7" name="TextBox 15"/>
          <p:cNvSpPr txBox="1"/>
          <p:nvPr/>
        </p:nvSpPr>
        <p:spPr>
          <a:xfrm>
            <a:off x="6300841" y="2234485"/>
            <a:ext cx="2843159" cy="82791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71450" indent="-171450">
              <a:buClr>
                <a:srgbClr val="00C6E8"/>
              </a:buClr>
              <a:buFont typeface="Wingdings" charset="2"/>
              <a:buChar char="Ø"/>
            </a:pPr>
            <a:r>
              <a:rPr lang="nb-NO" sz="1200" dirty="0"/>
              <a:t>98 % av alle meldinger lest </a:t>
            </a:r>
          </a:p>
          <a:p>
            <a:pPr marL="171450" indent="-171450">
              <a:buClr>
                <a:srgbClr val="00C6E8"/>
              </a:buClr>
              <a:buFont typeface="Wingdings" charset="2"/>
              <a:buChar char="Ø"/>
            </a:pPr>
            <a:r>
              <a:rPr lang="nb-NO" sz="1200" dirty="0"/>
              <a:t>90 % av alle meldinger lese innen 3 </a:t>
            </a:r>
            <a:r>
              <a:rPr lang="nb-NO" sz="1200" dirty="0" smtClean="0"/>
              <a:t>min </a:t>
            </a:r>
            <a:endParaRPr lang="nb-NO" sz="1200" dirty="0"/>
          </a:p>
          <a:p>
            <a:pPr marL="171450" indent="-171450">
              <a:buClr>
                <a:srgbClr val="00C6E8"/>
              </a:buClr>
              <a:buFont typeface="Wingdings" charset="2"/>
              <a:buChar char="Ø"/>
            </a:pPr>
            <a:r>
              <a:rPr lang="nb-NO" sz="1200" dirty="0"/>
              <a:t>Pålitelig og sikker</a:t>
            </a:r>
          </a:p>
          <a:p>
            <a:pPr marL="171450" indent="-171450">
              <a:buClr>
                <a:srgbClr val="00C6E8"/>
              </a:buClr>
              <a:buFont typeface="Wingdings" charset="2"/>
              <a:buChar char="Ø"/>
            </a:pPr>
            <a:r>
              <a:rPr lang="nb-NO" sz="1200" dirty="0"/>
              <a:t>Alltid på , 24 /7</a:t>
            </a:r>
          </a:p>
        </p:txBody>
      </p:sp>
    </p:spTree>
    <p:extLst>
      <p:ext uri="{BB962C8B-B14F-4D97-AF65-F5344CB8AC3E}">
        <p14:creationId xmlns:p14="http://schemas.microsoft.com/office/powerpoint/2010/main" val="30592113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87" y="-455865"/>
            <a:ext cx="9207807" cy="5143500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5737" y="2883512"/>
            <a:ext cx="1138263" cy="70941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643F-3BE7-2146-98A1-7FD9E9509AE9}" type="slidenum">
              <a:rPr lang="en-US"/>
              <a:pPr/>
              <a:t>8</a:t>
            </a:fld>
            <a:endParaRPr lang="en-US"/>
          </a:p>
        </p:txBody>
      </p:sp>
      <p:sp>
        <p:nvSpPr>
          <p:cNvPr id="2" name="Rektangel 1"/>
          <p:cNvSpPr/>
          <p:nvPr/>
        </p:nvSpPr>
        <p:spPr>
          <a:xfrm>
            <a:off x="290585" y="305469"/>
            <a:ext cx="87912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3600" dirty="0">
              <a:solidFill>
                <a:srgbClr val="00C6E8"/>
              </a:solidFill>
              <a:latin typeface="Arial"/>
              <a:cs typeface="Arial"/>
            </a:endParaRPr>
          </a:p>
        </p:txBody>
      </p:sp>
      <p:sp>
        <p:nvSpPr>
          <p:cNvPr id="15" name="Tittel 1"/>
          <p:cNvSpPr txBox="1">
            <a:spLocks/>
          </p:cNvSpPr>
          <p:nvPr/>
        </p:nvSpPr>
        <p:spPr>
          <a:xfrm>
            <a:off x="309692" y="-89506"/>
            <a:ext cx="8629154" cy="459687"/>
          </a:xfrm>
          <a:prstGeom prst="rect">
            <a:avLst/>
          </a:prstGeom>
        </p:spPr>
        <p:txBody>
          <a:bodyPr/>
          <a:lstStyle>
            <a:lvl1pPr algn="ctr" defTabSz="457148" rtl="0" eaLnBrk="1" latinLnBrk="0" hangingPunct="1">
              <a:spcBef>
                <a:spcPct val="0"/>
              </a:spcBef>
              <a:buNone/>
              <a:defRPr sz="3600" kern="1200">
                <a:solidFill>
                  <a:srgbClr val="00C6E8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nb-NO" i="1" dirty="0" smtClean="0"/>
              <a:t> Potensielle leveranser til kundereisen i morgendagens mobilitetsløsninger  </a:t>
            </a:r>
            <a:endParaRPr lang="en-GB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138969058"/>
              </p:ext>
            </p:extLst>
          </p:nvPr>
        </p:nvGraphicFramePr>
        <p:xfrm>
          <a:off x="146538" y="2280804"/>
          <a:ext cx="8792308" cy="4411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987" y="2581429"/>
            <a:ext cx="1238162" cy="775141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33834" y="2162877"/>
            <a:ext cx="948030" cy="604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859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1" y="2810911"/>
            <a:ext cx="9143999" cy="950250"/>
          </a:xfrm>
        </p:spPr>
        <p:txBody>
          <a:bodyPr/>
          <a:lstStyle/>
          <a:p>
            <a:pPr>
              <a:lnSpc>
                <a:spcPct val="50000"/>
              </a:lnSpc>
            </a:pPr>
            <a:r>
              <a:rPr lang="en-US" dirty="0" smtClean="0"/>
              <a:t> </a:t>
            </a:r>
            <a:endParaRPr lang="en-US" dirty="0" smtClean="0"/>
          </a:p>
          <a:p>
            <a:pPr>
              <a:lnSpc>
                <a:spcPct val="50000"/>
              </a:lnSpc>
            </a:pPr>
            <a:r>
              <a:rPr lang="en-US" sz="1800" dirty="0" smtClean="0"/>
              <a:t>Guro </a:t>
            </a:r>
            <a:r>
              <a:rPr lang="en-US" sz="1800" dirty="0" smtClean="0"/>
              <a:t>Røed</a:t>
            </a:r>
          </a:p>
          <a:p>
            <a:pPr>
              <a:lnSpc>
                <a:spcPct val="50000"/>
              </a:lnSpc>
            </a:pPr>
            <a:r>
              <a:rPr lang="en-US" sz="1800" dirty="0" smtClean="0"/>
              <a:t>@</a:t>
            </a:r>
            <a:r>
              <a:rPr lang="en-US" sz="1800" dirty="0" err="1" smtClean="0"/>
              <a:t>guroroed</a:t>
            </a:r>
            <a:endParaRPr lang="en-US" sz="1800" dirty="0" smtClean="0"/>
          </a:p>
          <a:p>
            <a:pPr>
              <a:lnSpc>
                <a:spcPct val="50000"/>
              </a:lnSpc>
            </a:pPr>
            <a:r>
              <a:rPr lang="en-US" sz="1800" dirty="0" smtClean="0"/>
              <a:t>48073878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52741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4">
      <a:dk1>
        <a:sysClr val="windowText" lastClr="000000"/>
      </a:dk1>
      <a:lt1>
        <a:sysClr val="window" lastClr="FFFFFF"/>
      </a:lt1>
      <a:dk2>
        <a:srgbClr val="1F497D"/>
      </a:dk2>
      <a:lt2>
        <a:srgbClr val="EEEEEE"/>
      </a:lt2>
      <a:accent1>
        <a:srgbClr val="00C6E8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14</TotalTime>
  <Words>341</Words>
  <Application>Microsoft Macintosh PowerPoint</Application>
  <PresentationFormat>Skjermfremvisning (16:9)</PresentationFormat>
  <Paragraphs>87</Paragraphs>
  <Slides>9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owerPoint-presentasjon</vt:lpstr>
      <vt:lpstr>LINK MOBILITY</vt:lpstr>
      <vt:lpstr>LINK Mobility produktområder</vt:lpstr>
      <vt:lpstr>Dere har alle møtt oss før </vt:lpstr>
      <vt:lpstr>PowerPoint-presentasjon</vt:lpstr>
      <vt:lpstr>Mobil er kjernen i alt vi gjør  </vt:lpstr>
      <vt:lpstr>PowerPoint-presentasjon</vt:lpstr>
      <vt:lpstr>PowerPoint-presentasjon</vt:lpstr>
      <vt:lpstr>Thank you!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jøro Håland</dc:creator>
  <cp:lastModifiedBy>Guro Røed</cp:lastModifiedBy>
  <cp:revision>149</cp:revision>
  <cp:lastPrinted>2015-10-14T13:13:52Z</cp:lastPrinted>
  <dcterms:created xsi:type="dcterms:W3CDTF">2015-10-13T11:32:04Z</dcterms:created>
  <dcterms:modified xsi:type="dcterms:W3CDTF">2016-03-31T07:44:19Z</dcterms:modified>
</cp:coreProperties>
</file>